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95" r:id="rId4"/>
  </p:sldMasterIdLst>
  <p:notesMasterIdLst>
    <p:notesMasterId r:id="rId22"/>
  </p:notesMasterIdLst>
  <p:sldIdLst>
    <p:sldId id="666" r:id="rId5"/>
    <p:sldId id="687" r:id="rId6"/>
    <p:sldId id="684" r:id="rId7"/>
    <p:sldId id="688" r:id="rId8"/>
    <p:sldId id="704" r:id="rId9"/>
    <p:sldId id="693" r:id="rId10"/>
    <p:sldId id="699" r:id="rId11"/>
    <p:sldId id="698" r:id="rId12"/>
    <p:sldId id="700" r:id="rId13"/>
    <p:sldId id="701" r:id="rId14"/>
    <p:sldId id="694" r:id="rId15"/>
    <p:sldId id="695" r:id="rId16"/>
    <p:sldId id="696" r:id="rId17"/>
    <p:sldId id="697" r:id="rId18"/>
    <p:sldId id="702" r:id="rId19"/>
    <p:sldId id="703" r:id="rId20"/>
    <p:sldId id="275"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DCC2A5D-BDFB-40AC-8D98-E1FFAECCB8AE}">
          <p14:sldIdLst>
            <p14:sldId id="666"/>
          </p14:sldIdLst>
        </p14:section>
        <p14:section name="Introduction" id="{C17EFEFF-CC62-4EC2-8E6E-CB1EAE4988E9}">
          <p14:sldIdLst>
            <p14:sldId id="687"/>
          </p14:sldIdLst>
        </p14:section>
        <p14:section name="Introduction" id="{5D5AAA5B-EEA5-41C6-81B7-87EA66A1D94F}">
          <p14:sldIdLst>
            <p14:sldId id="684"/>
            <p14:sldId id="688"/>
            <p14:sldId id="704"/>
            <p14:sldId id="693"/>
          </p14:sldIdLst>
        </p14:section>
        <p14:section name="Main consideration and solution" id="{5A8918CD-B7B3-4CF9-87AC-9D3C4698C56A}">
          <p14:sldIdLst>
            <p14:sldId id="699"/>
            <p14:sldId id="698"/>
          </p14:sldIdLst>
        </p14:section>
        <p14:section name="Implementaion" id="{31078DC5-594A-47C3-BC8B-9692939C7764}">
          <p14:sldIdLst>
            <p14:sldId id="700"/>
            <p14:sldId id="701"/>
            <p14:sldId id="694"/>
            <p14:sldId id="695"/>
            <p14:sldId id="696"/>
            <p14:sldId id="697"/>
          </p14:sldIdLst>
        </p14:section>
        <p14:section name="Limitations and possible improvements" id="{7018396A-CF6A-4550-9017-30CE3949B2BF}">
          <p14:sldIdLst>
            <p14:sldId id="702"/>
            <p14:sldId id="703"/>
          </p14:sldIdLst>
        </p14:section>
        <p14:section name="Q&amp;A" id="{B3C9E6B3-B5E0-477F-B9D4-5780F6E28685}">
          <p14:sldIdLst>
            <p14:sldId id="275"/>
          </p14:sldIdLst>
        </p14:section>
      </p14:sectionLst>
    </p:ext>
    <p:ext uri="{EFAFB233-063F-42B5-8137-9DF3F51BA10A}">
      <p15:sldGuideLst xmlns:p15="http://schemas.microsoft.com/office/powerpoint/2012/main">
        <p15:guide id="1" orient="horz" pos="2818" userDrawn="1">
          <p15:clr>
            <a:srgbClr val="A4A3A4"/>
          </p15:clr>
        </p15:guide>
        <p15:guide id="2" pos="4384" userDrawn="1">
          <p15:clr>
            <a:srgbClr val="A4A3A4"/>
          </p15:clr>
        </p15:guide>
        <p15:guide id="4" orient="horz" pos="3339" userDrawn="1">
          <p15:clr>
            <a:srgbClr val="A4A3A4"/>
          </p15:clr>
        </p15:guide>
        <p15:guide id="5" pos="3826">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tin Gregory" initials="MG" lastIdx="4" clrIdx="0"/>
  <p:cmAuthor id="2" name="martin gregory" initials="mg" lastIdx="3" clrIdx="1">
    <p:extLst>
      <p:ext uri="{19B8F6BF-5375-455C-9EA6-DF929625EA0E}">
        <p15:presenceInfo xmlns:p15="http://schemas.microsoft.com/office/powerpoint/2012/main" userId="martin gregor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61262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3" autoAdjust="0"/>
    <p:restoredTop sz="86917" autoAdjust="0"/>
  </p:normalViewPr>
  <p:slideViewPr>
    <p:cSldViewPr snapToGrid="0" showGuides="1">
      <p:cViewPr>
        <p:scale>
          <a:sx n="100" d="100"/>
          <a:sy n="100" d="100"/>
        </p:scale>
        <p:origin x="-644" y="-844"/>
      </p:cViewPr>
      <p:guideLst>
        <p:guide orient="horz" pos="2818"/>
        <p:guide pos="4384"/>
        <p:guide orient="horz" pos="3339"/>
        <p:guide pos="3826"/>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FBC316B-0412-4259-86A8-6DC0BF673B4F}" type="datetimeFigureOut">
              <a:rPr lang="en-US" smtClean="0"/>
              <a:t>3/27/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1D01395-8BDD-4721-A76F-6EE34FF06912}"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大家上午好，很高兴来</a:t>
            </a:r>
            <a:r>
              <a:rPr lang="en-US" altLang="zh-CN" dirty="0"/>
              <a:t>Pharma RUG 2025</a:t>
            </a:r>
            <a:r>
              <a:rPr lang="zh-CN" altLang="en-US" dirty="0"/>
              <a:t>。上一位演讲者讲得非常精彩，我要讲的内容比较简单。首先介绍一个这个</a:t>
            </a:r>
            <a:r>
              <a:rPr lang="en-US" altLang="zh-CN" dirty="0"/>
              <a:t>R package</a:t>
            </a:r>
            <a:r>
              <a:rPr lang="zh-CN" altLang="en-US" dirty="0"/>
              <a:t>的背景，我是从哪里开始的。然后介绍一下要解决的问题是什么，主要考虑的是什么，解决方案是什么。最后用图示介绍一下具体是怎么实现的，以及这个实现的局限性和未来可能的改进。</a:t>
            </a:r>
          </a:p>
        </p:txBody>
      </p:sp>
      <p:sp>
        <p:nvSpPr>
          <p:cNvPr id="4" name="Slide Number Placeholder 3"/>
          <p:cNvSpPr>
            <a:spLocks noGrp="1"/>
          </p:cNvSpPr>
          <p:nvPr>
            <p:ph type="sldNum" sz="quarter" idx="5"/>
          </p:nvPr>
        </p:nvSpPr>
        <p:spPr/>
        <p:txBody>
          <a:bodyPr/>
          <a:lstStyle/>
          <a:p>
            <a:fld id="{C1D01395-8BDD-4721-A76F-6EE34FF06912}" type="slidenum">
              <a:rPr lang="en-US" smtClean="0"/>
              <a:t>2</a:t>
            </a:fld>
            <a:endParaRPr lang="en-US"/>
          </a:p>
        </p:txBody>
      </p:sp>
    </p:spTree>
    <p:extLst>
      <p:ext uri="{BB962C8B-B14F-4D97-AF65-F5344CB8AC3E}">
        <p14:creationId xmlns:p14="http://schemas.microsoft.com/office/powerpoint/2010/main" val="10398094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这是</a:t>
            </a:r>
            <a:r>
              <a:rPr lang="en-US" altLang="zh-CN" dirty="0"/>
              <a:t>NCI CTC AE</a:t>
            </a:r>
            <a:r>
              <a:rPr lang="zh-CN" altLang="en-US" dirty="0"/>
              <a:t>文件的一部分，引用自一位</a:t>
            </a:r>
            <a:r>
              <a:rPr lang="en-US" altLang="zh-CN" dirty="0"/>
              <a:t>SME</a:t>
            </a:r>
            <a:r>
              <a:rPr lang="zh-CN" altLang="en-US" dirty="0"/>
              <a:t>同事，她是这方面的专家。可以看到对应于某个</a:t>
            </a:r>
            <a:r>
              <a:rPr lang="en-US" altLang="zh-CN" dirty="0"/>
              <a:t>term, </a:t>
            </a:r>
            <a:r>
              <a:rPr lang="zh-CN" altLang="en-US" dirty="0"/>
              <a:t>满足不同的条件就会得到不同的</a:t>
            </a:r>
            <a:r>
              <a:rPr lang="en-US" altLang="zh-CN" dirty="0"/>
              <a:t>toxicity</a:t>
            </a:r>
            <a:r>
              <a:rPr lang="zh-CN" altLang="en-US" dirty="0"/>
              <a:t>或者说</a:t>
            </a:r>
            <a:r>
              <a:rPr lang="en-US" altLang="zh-CN" dirty="0"/>
              <a:t>severity grade</a:t>
            </a:r>
            <a:r>
              <a:rPr lang="zh-CN" altLang="en-US" dirty="0"/>
              <a:t>。理想的情况是对照这个文件直接使用。</a:t>
            </a:r>
            <a:endParaRPr lang="en-US" altLang="zh-CN" dirty="0"/>
          </a:p>
          <a:p>
            <a:r>
              <a:rPr lang="zh-CN" altLang="en-US" dirty="0"/>
              <a:t>但实际使用起来有一些困难，比如图上指出的</a:t>
            </a:r>
            <a:r>
              <a:rPr lang="en-US" altLang="zh-CN" dirty="0"/>
              <a:t>medical assessment</a:t>
            </a:r>
            <a:r>
              <a:rPr lang="zh-CN" altLang="en-US" dirty="0"/>
              <a:t>无法测量应该忽略，单位需要转换，等等。</a:t>
            </a:r>
          </a:p>
        </p:txBody>
      </p:sp>
      <p:sp>
        <p:nvSpPr>
          <p:cNvPr id="4" name="Slide Number Placeholder 3"/>
          <p:cNvSpPr>
            <a:spLocks noGrp="1"/>
          </p:cNvSpPr>
          <p:nvPr>
            <p:ph type="sldNum" sz="quarter" idx="5"/>
          </p:nvPr>
        </p:nvSpPr>
        <p:spPr/>
        <p:txBody>
          <a:bodyPr/>
          <a:lstStyle/>
          <a:p>
            <a:fld id="{C1D01395-8BDD-4721-A76F-6EE34FF06912}" type="slidenum">
              <a:rPr lang="en-US" smtClean="0"/>
              <a:t>4</a:t>
            </a:fld>
            <a:endParaRPr lang="en-US"/>
          </a:p>
        </p:txBody>
      </p:sp>
    </p:spTree>
    <p:extLst>
      <p:ext uri="{BB962C8B-B14F-4D97-AF65-F5344CB8AC3E}">
        <p14:creationId xmlns:p14="http://schemas.microsoft.com/office/powerpoint/2010/main" val="10910491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除此之外，直接使用</a:t>
            </a:r>
            <a:r>
              <a:rPr lang="en-US" altLang="zh-CN" dirty="0"/>
              <a:t>NCI CTC AE file</a:t>
            </a:r>
            <a:r>
              <a:rPr lang="zh-CN" altLang="en-US" dirty="0"/>
              <a:t>来获得</a:t>
            </a:r>
            <a:r>
              <a:rPr lang="en-US" altLang="zh-CN" dirty="0"/>
              <a:t>tox grade</a:t>
            </a:r>
            <a:r>
              <a:rPr lang="zh-CN" altLang="en-US" dirty="0"/>
              <a:t>还包括这些困难，比如有时需要其它领域专家的评估，或者难以评估；有时比较的标准是上下限，有时又是</a:t>
            </a:r>
            <a:r>
              <a:rPr lang="en-US" altLang="zh-CN" dirty="0"/>
              <a:t>medical</a:t>
            </a:r>
            <a:r>
              <a:rPr lang="zh-CN" altLang="en-US" dirty="0"/>
              <a:t>的定义；有时能得出多个分数；有时测量单位不是公司标准单位需要转换；有时测量有两个方向有时只有一个方向，等等。这些混乱和不清晰导致了直接使用的困难。</a:t>
            </a:r>
          </a:p>
        </p:txBody>
      </p:sp>
      <p:sp>
        <p:nvSpPr>
          <p:cNvPr id="4" name="Slide Number Placeholder 3"/>
          <p:cNvSpPr>
            <a:spLocks noGrp="1"/>
          </p:cNvSpPr>
          <p:nvPr>
            <p:ph type="sldNum" sz="quarter" idx="5"/>
          </p:nvPr>
        </p:nvSpPr>
        <p:spPr/>
        <p:txBody>
          <a:bodyPr/>
          <a:lstStyle/>
          <a:p>
            <a:fld id="{C1D01395-8BDD-4721-A76F-6EE34FF06912}" type="slidenum">
              <a:rPr lang="en-US" smtClean="0"/>
              <a:t>5</a:t>
            </a:fld>
            <a:endParaRPr lang="en-US"/>
          </a:p>
        </p:txBody>
      </p:sp>
    </p:spTree>
    <p:extLst>
      <p:ext uri="{BB962C8B-B14F-4D97-AF65-F5344CB8AC3E}">
        <p14:creationId xmlns:p14="http://schemas.microsoft.com/office/powerpoint/2010/main" val="60713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公司的该领域的专家编制了</a:t>
            </a:r>
            <a:r>
              <a:rPr lang="en-US" altLang="zh-CN" dirty="0"/>
              <a:t>definition file</a:t>
            </a:r>
            <a:r>
              <a:rPr lang="zh-CN" altLang="en-US" dirty="0"/>
              <a:t>，规则统一清晰，解决了前述问题。</a:t>
            </a:r>
            <a:endParaRPr lang="en-US" altLang="zh-CN" dirty="0"/>
          </a:p>
          <a:p>
            <a:r>
              <a:rPr lang="zh-CN" altLang="en-US" dirty="0"/>
              <a:t>可以看到对应于每一种</a:t>
            </a:r>
            <a:r>
              <a:rPr lang="en-US" altLang="zh-CN" dirty="0" err="1"/>
              <a:t>labtest</a:t>
            </a:r>
            <a:r>
              <a:rPr lang="zh-CN" altLang="en-US" dirty="0"/>
              <a:t>，都有公司的标准单位；如果</a:t>
            </a:r>
            <a:r>
              <a:rPr lang="en-US" altLang="zh-CN" dirty="0"/>
              <a:t>tox grade overlap</a:t>
            </a:r>
            <a:r>
              <a:rPr lang="zh-CN" altLang="en-US" dirty="0"/>
              <a:t>需要如何</a:t>
            </a:r>
            <a:r>
              <a:rPr lang="en-US" altLang="zh-CN" dirty="0"/>
              <a:t>decide</a:t>
            </a:r>
            <a:r>
              <a:rPr lang="zh-CN" altLang="en-US" dirty="0"/>
              <a:t>，取</a:t>
            </a:r>
            <a:r>
              <a:rPr lang="en-US" altLang="zh-CN" dirty="0"/>
              <a:t>best</a:t>
            </a:r>
            <a:r>
              <a:rPr lang="zh-CN" altLang="en-US" dirty="0"/>
              <a:t>还是</a:t>
            </a:r>
            <a:r>
              <a:rPr lang="en-US" altLang="zh-CN" dirty="0"/>
              <a:t>worse</a:t>
            </a:r>
            <a:r>
              <a:rPr lang="zh-CN" altLang="en-US" dirty="0"/>
              <a:t>；以及分解为最小单元的方便编程的</a:t>
            </a:r>
            <a:r>
              <a:rPr lang="en-US" altLang="zh-CN" dirty="0"/>
              <a:t>conditions</a:t>
            </a:r>
            <a:r>
              <a:rPr lang="zh-CN" altLang="en-US" dirty="0"/>
              <a:t>。</a:t>
            </a:r>
            <a:endParaRPr lang="en-US" altLang="zh-CN" dirty="0"/>
          </a:p>
          <a:p>
            <a:r>
              <a:rPr lang="zh-CN" altLang="en-US" dirty="0"/>
              <a:t>在这个</a:t>
            </a:r>
            <a:r>
              <a:rPr lang="en-US" altLang="zh-CN" dirty="0"/>
              <a:t>definition file</a:t>
            </a:r>
            <a:r>
              <a:rPr lang="zh-CN" altLang="en-US" dirty="0"/>
              <a:t>的基础上，通过编程来计算</a:t>
            </a:r>
            <a:r>
              <a:rPr lang="en-US" altLang="zh-CN" dirty="0"/>
              <a:t>toxicity grade</a:t>
            </a:r>
            <a:r>
              <a:rPr lang="zh-CN" altLang="en-US" dirty="0"/>
              <a:t>才是可行的。我的工作也是从这里开始</a:t>
            </a:r>
          </a:p>
        </p:txBody>
      </p:sp>
      <p:sp>
        <p:nvSpPr>
          <p:cNvPr id="4" name="Slide Number Placeholder 3"/>
          <p:cNvSpPr>
            <a:spLocks noGrp="1"/>
          </p:cNvSpPr>
          <p:nvPr>
            <p:ph type="sldNum" sz="quarter" idx="5"/>
          </p:nvPr>
        </p:nvSpPr>
        <p:spPr/>
        <p:txBody>
          <a:bodyPr/>
          <a:lstStyle/>
          <a:p>
            <a:fld id="{C1D01395-8BDD-4721-A76F-6EE34FF06912}" type="slidenum">
              <a:rPr lang="en-US" smtClean="0"/>
              <a:t>6</a:t>
            </a:fld>
            <a:endParaRPr lang="en-US"/>
          </a:p>
        </p:txBody>
      </p:sp>
    </p:spTree>
    <p:extLst>
      <p:ext uri="{BB962C8B-B14F-4D97-AF65-F5344CB8AC3E}">
        <p14:creationId xmlns:p14="http://schemas.microsoft.com/office/powerpoint/2010/main" val="331445237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7.emf"/><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4.emf"/><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5.emf"/><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6.emf"/><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ynthetic">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15" name="Object 1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Rectangle 5"/>
          <p:cNvSpPr/>
          <p:nvPr userDrawn="1"/>
        </p:nvSpPr>
        <p:spPr bwMode="gray">
          <a:xfrm>
            <a:off x="1" y="0"/>
            <a:ext cx="12192000" cy="6858001"/>
          </a:xfrm>
          <a:prstGeom prst="rect">
            <a:avLst/>
          </a:prstGeom>
          <a:solidFill>
            <a:srgbClr val="2DBECD"/>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grpSp>
        <p:nvGrpSpPr>
          <p:cNvPr id="5" name="Gruppieren 4"/>
          <p:cNvGrpSpPr/>
          <p:nvPr userDrawn="1"/>
        </p:nvGrpSpPr>
        <p:grpSpPr bwMode="gray">
          <a:xfrm>
            <a:off x="1" y="1885410"/>
            <a:ext cx="3967700" cy="2613421"/>
            <a:chOff x="1" y="1885410"/>
            <a:chExt cx="3967700" cy="2613421"/>
          </a:xfrm>
        </p:grpSpPr>
        <p:sp>
          <p:nvSpPr>
            <p:cNvPr id="8" name="Rectlangle 2"/>
            <p:cNvSpPr/>
            <p:nvPr userDrawn="1"/>
          </p:nvSpPr>
          <p:spPr bwMode="gray">
            <a:xfrm>
              <a:off x="1" y="1885410"/>
              <a:ext cx="1552255" cy="818268"/>
            </a:xfrm>
            <a:custGeom>
              <a:avLst/>
              <a:gdLst/>
              <a:ahLst/>
              <a:cxnLst/>
              <a:rect l="l" t="t" r="r" b="b"/>
              <a:pathLst>
                <a:path w="1552255" h="818268">
                  <a:moveTo>
                    <a:pt x="876974" y="0"/>
                  </a:moveTo>
                  <a:lnTo>
                    <a:pt x="891654" y="0"/>
                  </a:lnTo>
                  <a:lnTo>
                    <a:pt x="891959" y="0"/>
                  </a:lnTo>
                  <a:lnTo>
                    <a:pt x="992885" y="327"/>
                  </a:lnTo>
                  <a:lnTo>
                    <a:pt x="1100691" y="573"/>
                  </a:lnTo>
                  <a:cubicBezTo>
                    <a:pt x="1118277" y="573"/>
                    <a:pt x="1139838" y="12929"/>
                    <a:pt x="1148401" y="28230"/>
                  </a:cubicBezTo>
                  <a:lnTo>
                    <a:pt x="1260184" y="222241"/>
                  </a:lnTo>
                  <a:cubicBezTo>
                    <a:pt x="1268747" y="237460"/>
                    <a:pt x="1268747" y="262172"/>
                    <a:pt x="1259878" y="277473"/>
                  </a:cubicBezTo>
                  <a:lnTo>
                    <a:pt x="1184795" y="406759"/>
                  </a:lnTo>
                  <a:cubicBezTo>
                    <a:pt x="1179443" y="416169"/>
                    <a:pt x="1173938" y="425579"/>
                    <a:pt x="1168586" y="434989"/>
                  </a:cubicBezTo>
                  <a:cubicBezTo>
                    <a:pt x="1166445" y="438753"/>
                    <a:pt x="1164305" y="442435"/>
                    <a:pt x="1162164" y="446200"/>
                  </a:cubicBezTo>
                  <a:cubicBezTo>
                    <a:pt x="1153295" y="461419"/>
                    <a:pt x="1160329" y="473775"/>
                    <a:pt x="1177761" y="473775"/>
                  </a:cubicBezTo>
                  <a:lnTo>
                    <a:pt x="1439402" y="474675"/>
                  </a:lnTo>
                  <a:cubicBezTo>
                    <a:pt x="1456682" y="474675"/>
                    <a:pt x="1478243" y="487276"/>
                    <a:pt x="1487112" y="502578"/>
                  </a:cubicBezTo>
                  <a:lnTo>
                    <a:pt x="1552255" y="616398"/>
                  </a:lnTo>
                  <a:cubicBezTo>
                    <a:pt x="1561124" y="631618"/>
                    <a:pt x="1561124" y="656330"/>
                    <a:pt x="1552255" y="671631"/>
                  </a:cubicBezTo>
                  <a:lnTo>
                    <a:pt x="1486042" y="785124"/>
                  </a:lnTo>
                  <a:cubicBezTo>
                    <a:pt x="1477632" y="800344"/>
                    <a:pt x="1455917" y="812700"/>
                    <a:pt x="1438485" y="812700"/>
                  </a:cubicBezTo>
                  <a:lnTo>
                    <a:pt x="1307129" y="812127"/>
                  </a:lnTo>
                  <a:cubicBezTo>
                    <a:pt x="1289544" y="812127"/>
                    <a:pt x="1267982" y="799771"/>
                    <a:pt x="1259419" y="784470"/>
                  </a:cubicBezTo>
                  <a:lnTo>
                    <a:pt x="1193971" y="670731"/>
                  </a:lnTo>
                  <a:cubicBezTo>
                    <a:pt x="1185407" y="655430"/>
                    <a:pt x="1185407" y="630800"/>
                    <a:pt x="1194276" y="615498"/>
                  </a:cubicBezTo>
                  <a:lnTo>
                    <a:pt x="1245656" y="526717"/>
                  </a:lnTo>
                  <a:cubicBezTo>
                    <a:pt x="1254526" y="511497"/>
                    <a:pt x="1247491" y="499059"/>
                    <a:pt x="1229753" y="499059"/>
                  </a:cubicBezTo>
                  <a:lnTo>
                    <a:pt x="986615" y="498159"/>
                  </a:lnTo>
                  <a:lnTo>
                    <a:pt x="890736" y="498159"/>
                  </a:lnTo>
                  <a:cubicBezTo>
                    <a:pt x="890430" y="498159"/>
                    <a:pt x="889971" y="497914"/>
                    <a:pt x="889666" y="497914"/>
                  </a:cubicBezTo>
                  <a:lnTo>
                    <a:pt x="875903" y="497914"/>
                  </a:lnTo>
                  <a:cubicBezTo>
                    <a:pt x="858318" y="497914"/>
                    <a:pt x="836756" y="485231"/>
                    <a:pt x="828193" y="470256"/>
                  </a:cubicBezTo>
                  <a:lnTo>
                    <a:pt x="821312" y="458473"/>
                  </a:lnTo>
                  <a:lnTo>
                    <a:pt x="744700" y="325096"/>
                  </a:lnTo>
                  <a:cubicBezTo>
                    <a:pt x="731702" y="302676"/>
                    <a:pt x="710600" y="302676"/>
                    <a:pt x="697602" y="325096"/>
                  </a:cubicBezTo>
                  <a:lnTo>
                    <a:pt x="434279" y="777760"/>
                  </a:lnTo>
                  <a:cubicBezTo>
                    <a:pt x="421128" y="800344"/>
                    <a:pt x="389321" y="818591"/>
                    <a:pt x="363325" y="818264"/>
                  </a:cubicBezTo>
                  <a:lnTo>
                    <a:pt x="0" y="818035"/>
                  </a:lnTo>
                  <a:lnTo>
                    <a:pt x="0" y="86319"/>
                  </a:lnTo>
                  <a:lnTo>
                    <a:pt x="17274" y="81417"/>
                  </a:lnTo>
                  <a:cubicBezTo>
                    <a:pt x="65443" y="78717"/>
                    <a:pt x="234569" y="81581"/>
                    <a:pt x="343140" y="81663"/>
                  </a:cubicBezTo>
                  <a:lnTo>
                    <a:pt x="365160" y="81663"/>
                  </a:lnTo>
                  <a:cubicBezTo>
                    <a:pt x="391003" y="81990"/>
                    <a:pt x="422810" y="100156"/>
                    <a:pt x="435655" y="122903"/>
                  </a:cubicBezTo>
                  <a:lnTo>
                    <a:pt x="579856" y="373047"/>
                  </a:lnTo>
                  <a:cubicBezTo>
                    <a:pt x="592395" y="395303"/>
                    <a:pt x="613650" y="395303"/>
                    <a:pt x="626801" y="373047"/>
                  </a:cubicBezTo>
                  <a:lnTo>
                    <a:pt x="810608" y="59324"/>
                  </a:lnTo>
                  <a:lnTo>
                    <a:pt x="829111" y="27330"/>
                  </a:lnTo>
                  <a:cubicBezTo>
                    <a:pt x="837827" y="12356"/>
                    <a:pt x="859388" y="0"/>
                    <a:pt x="876974" y="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37"/>
            <p:cNvSpPr>
              <a:spLocks/>
            </p:cNvSpPr>
            <p:nvPr userDrawn="1"/>
          </p:nvSpPr>
          <p:spPr bwMode="gray">
            <a:xfrm>
              <a:off x="495022" y="2449806"/>
              <a:ext cx="853273" cy="938466"/>
            </a:xfrm>
            <a:custGeom>
              <a:avLst/>
              <a:gdLst>
                <a:gd name="T0" fmla="*/ 2900 w 2953"/>
                <a:gd name="T1" fmla="*/ 2800 h 2900"/>
                <a:gd name="T2" fmla="*/ 2620 w 2953"/>
                <a:gd name="T3" fmla="*/ 2639 h 2900"/>
                <a:gd name="T4" fmla="*/ 1478 w 2953"/>
                <a:gd name="T5" fmla="*/ 2637 h 2900"/>
                <a:gd name="T6" fmla="*/ 1385 w 2953"/>
                <a:gd name="T7" fmla="*/ 2476 h 2900"/>
                <a:gd name="T8" fmla="*/ 2148 w 2953"/>
                <a:gd name="T9" fmla="*/ 1150 h 2900"/>
                <a:gd name="T10" fmla="*/ 2148 w 2953"/>
                <a:gd name="T11" fmla="*/ 828 h 2900"/>
                <a:gd name="T12" fmla="*/ 1764 w 2953"/>
                <a:gd name="T13" fmla="*/ 162 h 2900"/>
                <a:gd name="T14" fmla="*/ 1485 w 2953"/>
                <a:gd name="T15" fmla="*/ 0 h 2900"/>
                <a:gd name="T16" fmla="*/ 715 w 2953"/>
                <a:gd name="T17" fmla="*/ 0 h 2900"/>
                <a:gd name="T18" fmla="*/ 436 w 2953"/>
                <a:gd name="T19" fmla="*/ 161 h 2900"/>
                <a:gd name="T20" fmla="*/ 51 w 2953"/>
                <a:gd name="T21" fmla="*/ 827 h 2900"/>
                <a:gd name="T22" fmla="*/ 51 w 2953"/>
                <a:gd name="T23" fmla="*/ 1150 h 2900"/>
                <a:gd name="T24" fmla="*/ 436 w 2953"/>
                <a:gd name="T25" fmla="*/ 1816 h 2900"/>
                <a:gd name="T26" fmla="*/ 715 w 2953"/>
                <a:gd name="T27" fmla="*/ 1977 h 2900"/>
                <a:gd name="T28" fmla="*/ 1317 w 2953"/>
                <a:gd name="T29" fmla="*/ 1977 h 2900"/>
                <a:gd name="T30" fmla="*/ 1410 w 2953"/>
                <a:gd name="T31" fmla="*/ 2139 h 2900"/>
                <a:gd name="T32" fmla="*/ 972 w 2953"/>
                <a:gd name="T33" fmla="*/ 2900 h 2900"/>
                <a:gd name="T34" fmla="*/ 2953 w 2953"/>
                <a:gd name="T35" fmla="*/ 2893 h 2900"/>
                <a:gd name="T36" fmla="*/ 2900 w 2953"/>
                <a:gd name="T37" fmla="*/ 2800 h 2900"/>
                <a:gd name="connsiteX0" fmla="*/ 9648 w 9827"/>
                <a:gd name="connsiteY0" fmla="*/ 9655 h 11005"/>
                <a:gd name="connsiteX1" fmla="*/ 8699 w 9827"/>
                <a:gd name="connsiteY1" fmla="*/ 9100 h 11005"/>
                <a:gd name="connsiteX2" fmla="*/ 4832 w 9827"/>
                <a:gd name="connsiteY2" fmla="*/ 9093 h 11005"/>
                <a:gd name="connsiteX3" fmla="*/ 4517 w 9827"/>
                <a:gd name="connsiteY3" fmla="*/ 8538 h 11005"/>
                <a:gd name="connsiteX4" fmla="*/ 7101 w 9827"/>
                <a:gd name="connsiteY4" fmla="*/ 3966 h 11005"/>
                <a:gd name="connsiteX5" fmla="*/ 7101 w 9827"/>
                <a:gd name="connsiteY5" fmla="*/ 2855 h 11005"/>
                <a:gd name="connsiteX6" fmla="*/ 5801 w 9827"/>
                <a:gd name="connsiteY6" fmla="*/ 559 h 11005"/>
                <a:gd name="connsiteX7" fmla="*/ 4856 w 9827"/>
                <a:gd name="connsiteY7" fmla="*/ 0 h 11005"/>
                <a:gd name="connsiteX8" fmla="*/ 2248 w 9827"/>
                <a:gd name="connsiteY8" fmla="*/ 0 h 11005"/>
                <a:gd name="connsiteX9" fmla="*/ 1303 w 9827"/>
                <a:gd name="connsiteY9" fmla="*/ 555 h 11005"/>
                <a:gd name="connsiteX10" fmla="*/ 0 w 9827"/>
                <a:gd name="connsiteY10" fmla="*/ 2852 h 11005"/>
                <a:gd name="connsiteX11" fmla="*/ 0 w 9827"/>
                <a:gd name="connsiteY11" fmla="*/ 3966 h 11005"/>
                <a:gd name="connsiteX12" fmla="*/ 1303 w 9827"/>
                <a:gd name="connsiteY12" fmla="*/ 6262 h 11005"/>
                <a:gd name="connsiteX13" fmla="*/ 2248 w 9827"/>
                <a:gd name="connsiteY13" fmla="*/ 6817 h 11005"/>
                <a:gd name="connsiteX14" fmla="*/ 4287 w 9827"/>
                <a:gd name="connsiteY14" fmla="*/ 6817 h 11005"/>
                <a:gd name="connsiteX15" fmla="*/ 4602 w 9827"/>
                <a:gd name="connsiteY15" fmla="*/ 7376 h 11005"/>
                <a:gd name="connsiteX16" fmla="*/ 2497 w 9827"/>
                <a:gd name="connsiteY16" fmla="*/ 11005 h 11005"/>
                <a:gd name="connsiteX17" fmla="*/ 9827 w 9827"/>
                <a:gd name="connsiteY17" fmla="*/ 9976 h 11005"/>
                <a:gd name="connsiteX18" fmla="*/ 9648 w 9827"/>
                <a:gd name="connsiteY18" fmla="*/ 9655 h 11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827" h="11005">
                  <a:moveTo>
                    <a:pt x="9648" y="9655"/>
                  </a:moveTo>
                  <a:cubicBezTo>
                    <a:pt x="9471" y="9348"/>
                    <a:pt x="9048" y="9100"/>
                    <a:pt x="8699" y="9100"/>
                  </a:cubicBezTo>
                  <a:lnTo>
                    <a:pt x="4832" y="9093"/>
                  </a:lnTo>
                  <a:cubicBezTo>
                    <a:pt x="4487" y="9093"/>
                    <a:pt x="4344" y="8845"/>
                    <a:pt x="4517" y="8538"/>
                  </a:cubicBezTo>
                  <a:lnTo>
                    <a:pt x="7101" y="3966"/>
                  </a:lnTo>
                  <a:cubicBezTo>
                    <a:pt x="7277" y="3662"/>
                    <a:pt x="7277" y="3159"/>
                    <a:pt x="7101" y="2855"/>
                  </a:cubicBezTo>
                  <a:lnTo>
                    <a:pt x="5801" y="559"/>
                  </a:lnTo>
                  <a:cubicBezTo>
                    <a:pt x="5628" y="252"/>
                    <a:pt x="5201" y="0"/>
                    <a:pt x="4856" y="0"/>
                  </a:cubicBezTo>
                  <a:lnTo>
                    <a:pt x="2248" y="0"/>
                  </a:lnTo>
                  <a:cubicBezTo>
                    <a:pt x="1903" y="0"/>
                    <a:pt x="1476" y="252"/>
                    <a:pt x="1303" y="555"/>
                  </a:cubicBezTo>
                  <a:lnTo>
                    <a:pt x="0" y="2852"/>
                  </a:lnTo>
                  <a:cubicBezTo>
                    <a:pt x="-173" y="3159"/>
                    <a:pt x="-173" y="3659"/>
                    <a:pt x="0" y="3966"/>
                  </a:cubicBezTo>
                  <a:lnTo>
                    <a:pt x="1303" y="6262"/>
                  </a:lnTo>
                  <a:cubicBezTo>
                    <a:pt x="1476" y="6569"/>
                    <a:pt x="1903" y="6817"/>
                    <a:pt x="2248" y="6817"/>
                  </a:cubicBezTo>
                  <a:lnTo>
                    <a:pt x="4287" y="6817"/>
                  </a:lnTo>
                  <a:cubicBezTo>
                    <a:pt x="4632" y="6817"/>
                    <a:pt x="4900" y="6678"/>
                    <a:pt x="4602" y="7376"/>
                  </a:cubicBezTo>
                  <a:cubicBezTo>
                    <a:pt x="4304" y="8074"/>
                    <a:pt x="2497" y="11005"/>
                    <a:pt x="2497" y="11005"/>
                  </a:cubicBezTo>
                  <a:cubicBezTo>
                    <a:pt x="9205" y="10981"/>
                    <a:pt x="9827" y="9976"/>
                    <a:pt x="9827" y="9976"/>
                  </a:cubicBezTo>
                  <a:lnTo>
                    <a:pt x="9648" y="965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34"/>
            <p:cNvSpPr>
              <a:spLocks/>
            </p:cNvSpPr>
            <p:nvPr userDrawn="1"/>
          </p:nvSpPr>
          <p:spPr bwMode="gray">
            <a:xfrm>
              <a:off x="3009726" y="3438341"/>
              <a:ext cx="957975" cy="1060490"/>
            </a:xfrm>
            <a:custGeom>
              <a:avLst/>
              <a:gdLst>
                <a:gd name="T0" fmla="*/ 1071 w 3325"/>
                <a:gd name="T1" fmla="*/ 3118 h 3410"/>
                <a:gd name="T2" fmla="*/ 1238 w 3325"/>
                <a:gd name="T3" fmla="*/ 3410 h 3410"/>
                <a:gd name="T4" fmla="*/ 1068 w 3325"/>
                <a:gd name="T5" fmla="*/ 3410 h 3410"/>
                <a:gd name="T6" fmla="*/ 52 w 3325"/>
                <a:gd name="T7" fmla="*/ 1638 h 3410"/>
                <a:gd name="T8" fmla="*/ 52 w 3325"/>
                <a:gd name="T9" fmla="*/ 1311 h 3410"/>
                <a:gd name="T10" fmla="*/ 719 w 3325"/>
                <a:gd name="T11" fmla="*/ 163 h 3410"/>
                <a:gd name="T12" fmla="*/ 1002 w 3325"/>
                <a:gd name="T13" fmla="*/ 0 h 3410"/>
                <a:gd name="T14" fmla="*/ 2330 w 3325"/>
                <a:gd name="T15" fmla="*/ 3 h 3410"/>
                <a:gd name="T16" fmla="*/ 2613 w 3325"/>
                <a:gd name="T17" fmla="*/ 167 h 3410"/>
                <a:gd name="T18" fmla="*/ 3274 w 3325"/>
                <a:gd name="T19" fmla="*/ 1318 h 3410"/>
                <a:gd name="T20" fmla="*/ 3273 w 3325"/>
                <a:gd name="T21" fmla="*/ 1645 h 3410"/>
                <a:gd name="T22" fmla="*/ 2607 w 3325"/>
                <a:gd name="T23" fmla="*/ 2793 h 3410"/>
                <a:gd name="T24" fmla="*/ 2323 w 3325"/>
                <a:gd name="T25" fmla="*/ 2956 h 3410"/>
                <a:gd name="T26" fmla="*/ 1166 w 3325"/>
                <a:gd name="T27" fmla="*/ 2955 h 3410"/>
                <a:gd name="T28" fmla="*/ 1071 w 3325"/>
                <a:gd name="T29" fmla="*/ 3118 h 3410"/>
                <a:gd name="connsiteX0" fmla="*/ 3065 w 9805"/>
                <a:gd name="connsiteY0" fmla="*/ 9144 h 10585"/>
                <a:gd name="connsiteX1" fmla="*/ 3567 w 9805"/>
                <a:gd name="connsiteY1" fmla="*/ 10000 h 10585"/>
                <a:gd name="connsiteX2" fmla="*/ 3674 w 9805"/>
                <a:gd name="connsiteY2" fmla="*/ 10460 h 10585"/>
                <a:gd name="connsiteX3" fmla="*/ 3056 w 9805"/>
                <a:gd name="connsiteY3" fmla="*/ 10000 h 10585"/>
                <a:gd name="connsiteX4" fmla="*/ 0 w 9805"/>
                <a:gd name="connsiteY4" fmla="*/ 4804 h 10585"/>
                <a:gd name="connsiteX5" fmla="*/ 0 w 9805"/>
                <a:gd name="connsiteY5" fmla="*/ 3845 h 10585"/>
                <a:gd name="connsiteX6" fmla="*/ 2006 w 9805"/>
                <a:gd name="connsiteY6" fmla="*/ 478 h 10585"/>
                <a:gd name="connsiteX7" fmla="*/ 2858 w 9805"/>
                <a:gd name="connsiteY7" fmla="*/ 0 h 10585"/>
                <a:gd name="connsiteX8" fmla="*/ 6852 w 9805"/>
                <a:gd name="connsiteY8" fmla="*/ 9 h 10585"/>
                <a:gd name="connsiteX9" fmla="*/ 7703 w 9805"/>
                <a:gd name="connsiteY9" fmla="*/ 490 h 10585"/>
                <a:gd name="connsiteX10" fmla="*/ 9691 w 9805"/>
                <a:gd name="connsiteY10" fmla="*/ 3865 h 10585"/>
                <a:gd name="connsiteX11" fmla="*/ 9688 w 9805"/>
                <a:gd name="connsiteY11" fmla="*/ 4824 h 10585"/>
                <a:gd name="connsiteX12" fmla="*/ 7685 w 9805"/>
                <a:gd name="connsiteY12" fmla="*/ 8191 h 10585"/>
                <a:gd name="connsiteX13" fmla="*/ 6830 w 9805"/>
                <a:gd name="connsiteY13" fmla="*/ 8669 h 10585"/>
                <a:gd name="connsiteX14" fmla="*/ 3351 w 9805"/>
                <a:gd name="connsiteY14" fmla="*/ 8666 h 10585"/>
                <a:gd name="connsiteX15" fmla="*/ 3065 w 9805"/>
                <a:gd name="connsiteY15" fmla="*/ 9144 h 10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805" h="10585">
                  <a:moveTo>
                    <a:pt x="3065" y="9144"/>
                  </a:moveTo>
                  <a:cubicBezTo>
                    <a:pt x="3567" y="10000"/>
                    <a:pt x="3466" y="9781"/>
                    <a:pt x="3567" y="10000"/>
                  </a:cubicBezTo>
                  <a:cubicBezTo>
                    <a:pt x="3668" y="10219"/>
                    <a:pt x="3768" y="10465"/>
                    <a:pt x="3674" y="10460"/>
                  </a:cubicBezTo>
                  <a:cubicBezTo>
                    <a:pt x="3598" y="10465"/>
                    <a:pt x="3668" y="10942"/>
                    <a:pt x="3056" y="10000"/>
                  </a:cubicBezTo>
                  <a:cubicBezTo>
                    <a:pt x="2444" y="9058"/>
                    <a:pt x="0" y="4804"/>
                    <a:pt x="0" y="4804"/>
                  </a:cubicBezTo>
                  <a:cubicBezTo>
                    <a:pt x="-156" y="4540"/>
                    <a:pt x="-156" y="4109"/>
                    <a:pt x="0" y="3845"/>
                  </a:cubicBezTo>
                  <a:lnTo>
                    <a:pt x="2006" y="478"/>
                  </a:lnTo>
                  <a:cubicBezTo>
                    <a:pt x="2163" y="214"/>
                    <a:pt x="2548" y="0"/>
                    <a:pt x="2858" y="0"/>
                  </a:cubicBezTo>
                  <a:lnTo>
                    <a:pt x="6852" y="9"/>
                  </a:lnTo>
                  <a:cubicBezTo>
                    <a:pt x="7164" y="9"/>
                    <a:pt x="7546" y="226"/>
                    <a:pt x="7703" y="490"/>
                  </a:cubicBezTo>
                  <a:lnTo>
                    <a:pt x="9691" y="3865"/>
                  </a:lnTo>
                  <a:cubicBezTo>
                    <a:pt x="9844" y="4129"/>
                    <a:pt x="9844" y="4560"/>
                    <a:pt x="9688" y="4824"/>
                  </a:cubicBezTo>
                  <a:lnTo>
                    <a:pt x="7685" y="8191"/>
                  </a:lnTo>
                  <a:cubicBezTo>
                    <a:pt x="7525" y="8455"/>
                    <a:pt x="7143" y="8669"/>
                    <a:pt x="6830" y="8669"/>
                  </a:cubicBezTo>
                  <a:lnTo>
                    <a:pt x="3351" y="8666"/>
                  </a:lnTo>
                  <a:cubicBezTo>
                    <a:pt x="3038" y="8663"/>
                    <a:pt x="2912" y="8880"/>
                    <a:pt x="3065" y="914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1" name="Rectangle 1"/>
          <p:cNvSpPr/>
          <p:nvPr userDrawn="1"/>
        </p:nvSpPr>
        <p:spPr bwMode="gray">
          <a:xfrm>
            <a:off x="1" y="0"/>
            <a:ext cx="12192000" cy="6858001"/>
          </a:xfrm>
          <a:custGeom>
            <a:avLst/>
            <a:gdLst/>
            <a:ahLst/>
            <a:cxnLst/>
            <a:rect l="l" t="t" r="r" b="b"/>
            <a:pathLst>
              <a:path w="12192000" h="6858001">
                <a:moveTo>
                  <a:pt x="4055910" y="2"/>
                </a:moveTo>
                <a:lnTo>
                  <a:pt x="4064211" y="14593"/>
                </a:lnTo>
                <a:cubicBezTo>
                  <a:pt x="4071842" y="28004"/>
                  <a:pt x="4080562" y="43331"/>
                  <a:pt x="4090528" y="60848"/>
                </a:cubicBezTo>
                <a:lnTo>
                  <a:pt x="4111980" y="98552"/>
                </a:lnTo>
                <a:lnTo>
                  <a:pt x="4110297" y="98553"/>
                </a:lnTo>
                <a:lnTo>
                  <a:pt x="4121274" y="117588"/>
                </a:lnTo>
                <a:cubicBezTo>
                  <a:pt x="4150392" y="168082"/>
                  <a:pt x="4186229" y="230229"/>
                  <a:pt x="4230336" y="306718"/>
                </a:cubicBezTo>
                <a:cubicBezTo>
                  <a:pt x="4230338" y="306722"/>
                  <a:pt x="4230365" y="306768"/>
                  <a:pt x="4230715" y="307375"/>
                </a:cubicBezTo>
                <a:lnTo>
                  <a:pt x="4233363" y="311972"/>
                </a:lnTo>
                <a:lnTo>
                  <a:pt x="4236606" y="317599"/>
                </a:lnTo>
                <a:lnTo>
                  <a:pt x="4256156" y="351961"/>
                </a:lnTo>
                <a:lnTo>
                  <a:pt x="4257049" y="353079"/>
                </a:lnTo>
                <a:lnTo>
                  <a:pt x="4277640" y="388816"/>
                </a:lnTo>
                <a:cubicBezTo>
                  <a:pt x="4306024" y="438073"/>
                  <a:pt x="4351436" y="516887"/>
                  <a:pt x="4424096" y="642989"/>
                </a:cubicBezTo>
                <a:cubicBezTo>
                  <a:pt x="4446431" y="681578"/>
                  <a:pt x="4428156" y="713204"/>
                  <a:pt x="4383488" y="713203"/>
                </a:cubicBezTo>
                <a:cubicBezTo>
                  <a:pt x="4383483" y="713203"/>
                  <a:pt x="4382282" y="713206"/>
                  <a:pt x="4118373" y="713783"/>
                </a:cubicBezTo>
                <a:cubicBezTo>
                  <a:pt x="4112860" y="713783"/>
                  <a:pt x="4107059" y="714364"/>
                  <a:pt x="4101259" y="715234"/>
                </a:cubicBezTo>
                <a:cubicBezTo>
                  <a:pt x="4060650" y="721907"/>
                  <a:pt x="4015980" y="750341"/>
                  <a:pt x="3996547" y="784287"/>
                </a:cubicBezTo>
                <a:cubicBezTo>
                  <a:pt x="3996540" y="784300"/>
                  <a:pt x="3994958" y="787031"/>
                  <a:pt x="3661817" y="1362246"/>
                </a:cubicBezTo>
                <a:cubicBezTo>
                  <a:pt x="3639482" y="1400835"/>
                  <a:pt x="3602645" y="1400835"/>
                  <a:pt x="3580311" y="1362247"/>
                </a:cubicBezTo>
                <a:cubicBezTo>
                  <a:pt x="3580304" y="1362235"/>
                  <a:pt x="3578989" y="1359959"/>
                  <a:pt x="3330859" y="930518"/>
                </a:cubicBezTo>
                <a:cubicBezTo>
                  <a:pt x="3308524" y="891930"/>
                  <a:pt x="3253412" y="860304"/>
                  <a:pt x="3208742" y="860305"/>
                </a:cubicBezTo>
                <a:cubicBezTo>
                  <a:pt x="3208734" y="860305"/>
                  <a:pt x="3206540" y="860305"/>
                  <a:pt x="2636744" y="860305"/>
                </a:cubicBezTo>
                <a:cubicBezTo>
                  <a:pt x="2592074" y="860304"/>
                  <a:pt x="2537253" y="891929"/>
                  <a:pt x="2514918" y="930518"/>
                </a:cubicBezTo>
                <a:cubicBezTo>
                  <a:pt x="2514916" y="930522"/>
                  <a:pt x="2514130" y="931884"/>
                  <a:pt x="2228920" y="1426077"/>
                </a:cubicBezTo>
                <a:cubicBezTo>
                  <a:pt x="2206584" y="1464667"/>
                  <a:pt x="2206584" y="1528206"/>
                  <a:pt x="2228919" y="1566796"/>
                </a:cubicBezTo>
                <a:cubicBezTo>
                  <a:pt x="2228924" y="1566804"/>
                  <a:pt x="2230056" y="1568766"/>
                  <a:pt x="2514919" y="2062355"/>
                </a:cubicBezTo>
                <a:cubicBezTo>
                  <a:pt x="2537254" y="2101234"/>
                  <a:pt x="2592074" y="2132858"/>
                  <a:pt x="2636744" y="2132859"/>
                </a:cubicBezTo>
                <a:cubicBezTo>
                  <a:pt x="2636756" y="2132859"/>
                  <a:pt x="2639393" y="2132859"/>
                  <a:pt x="3208742" y="2132858"/>
                </a:cubicBezTo>
                <a:cubicBezTo>
                  <a:pt x="3253413" y="2132858"/>
                  <a:pt x="3308523" y="2101233"/>
                  <a:pt x="3330858" y="2062355"/>
                </a:cubicBezTo>
                <a:cubicBezTo>
                  <a:pt x="3330865" y="2062343"/>
                  <a:pt x="3332608" y="2059331"/>
                  <a:pt x="3783933" y="1279267"/>
                </a:cubicBezTo>
                <a:cubicBezTo>
                  <a:pt x="3806268" y="1240388"/>
                  <a:pt x="3842815" y="1240388"/>
                  <a:pt x="3865149" y="1279266"/>
                </a:cubicBezTo>
                <a:cubicBezTo>
                  <a:pt x="3865153" y="1279274"/>
                  <a:pt x="3865905" y="1280575"/>
                  <a:pt x="3996547" y="1506736"/>
                </a:cubicBezTo>
                <a:cubicBezTo>
                  <a:pt x="4018881" y="1545326"/>
                  <a:pt x="4073703" y="1577240"/>
                  <a:pt x="4118373" y="1577240"/>
                </a:cubicBezTo>
                <a:cubicBezTo>
                  <a:pt x="4118388" y="1577240"/>
                  <a:pt x="4120602" y="1577240"/>
                  <a:pt x="4454262" y="1577240"/>
                </a:cubicBezTo>
                <a:cubicBezTo>
                  <a:pt x="4498932" y="1577241"/>
                  <a:pt x="4555203" y="1545326"/>
                  <a:pt x="4577538" y="1506737"/>
                </a:cubicBezTo>
                <a:cubicBezTo>
                  <a:pt x="4578118" y="1505576"/>
                  <a:pt x="4578118" y="1505576"/>
                  <a:pt x="4578408" y="1505286"/>
                </a:cubicBezTo>
                <a:cubicBezTo>
                  <a:pt x="4578416" y="1505272"/>
                  <a:pt x="4579567" y="1503279"/>
                  <a:pt x="4746063" y="1214856"/>
                </a:cubicBezTo>
                <a:cubicBezTo>
                  <a:pt x="4768398" y="1176266"/>
                  <a:pt x="4768398" y="1112727"/>
                  <a:pt x="4746063" y="1074137"/>
                </a:cubicBezTo>
                <a:cubicBezTo>
                  <a:pt x="4746054" y="1074122"/>
                  <a:pt x="4744341" y="1071144"/>
                  <a:pt x="4413364" y="495889"/>
                </a:cubicBezTo>
                <a:cubicBezTo>
                  <a:pt x="4391029" y="457010"/>
                  <a:pt x="4409303" y="425384"/>
                  <a:pt x="4453972" y="425385"/>
                </a:cubicBezTo>
                <a:cubicBezTo>
                  <a:pt x="4453984" y="425385"/>
                  <a:pt x="4455510" y="425384"/>
                  <a:pt x="4664080" y="425262"/>
                </a:cubicBezTo>
                <a:lnTo>
                  <a:pt x="4684544" y="425251"/>
                </a:lnTo>
                <a:lnTo>
                  <a:pt x="4758411" y="425795"/>
                </a:lnTo>
                <a:cubicBezTo>
                  <a:pt x="4812899" y="426196"/>
                  <a:pt x="4875172" y="426655"/>
                  <a:pt x="4946341" y="427179"/>
                </a:cubicBezTo>
                <a:cubicBezTo>
                  <a:pt x="4957449" y="427249"/>
                  <a:pt x="4969200" y="425347"/>
                  <a:pt x="4980930" y="421857"/>
                </a:cubicBezTo>
                <a:lnTo>
                  <a:pt x="4986031" y="419659"/>
                </a:lnTo>
                <a:lnTo>
                  <a:pt x="4986745" y="419546"/>
                </a:lnTo>
                <a:lnTo>
                  <a:pt x="5014597" y="407354"/>
                </a:lnTo>
                <a:lnTo>
                  <a:pt x="5015406" y="407005"/>
                </a:lnTo>
                <a:lnTo>
                  <a:pt x="5015426" y="406991"/>
                </a:lnTo>
                <a:lnTo>
                  <a:pt x="5021294" y="404423"/>
                </a:lnTo>
                <a:cubicBezTo>
                  <a:pt x="5043375" y="391656"/>
                  <a:pt x="5062664" y="374030"/>
                  <a:pt x="5073830" y="354591"/>
                </a:cubicBezTo>
                <a:cubicBezTo>
                  <a:pt x="5073835" y="354582"/>
                  <a:pt x="5074601" y="353254"/>
                  <a:pt x="5194242" y="145771"/>
                </a:cubicBezTo>
                <a:lnTo>
                  <a:pt x="5221469" y="98553"/>
                </a:lnTo>
                <a:lnTo>
                  <a:pt x="5220303" y="98552"/>
                </a:lnTo>
                <a:lnTo>
                  <a:pt x="5222692" y="94481"/>
                </a:lnTo>
                <a:lnTo>
                  <a:pt x="5278131" y="2"/>
                </a:lnTo>
                <a:close/>
                <a:moveTo>
                  <a:pt x="31806" y="0"/>
                </a:moveTo>
                <a:lnTo>
                  <a:pt x="12192000" y="0"/>
                </a:lnTo>
                <a:lnTo>
                  <a:pt x="12192000" y="6858001"/>
                </a:lnTo>
                <a:lnTo>
                  <a:pt x="3798641" y="6858001"/>
                </a:lnTo>
                <a:lnTo>
                  <a:pt x="3808977" y="6840186"/>
                </a:lnTo>
                <a:cubicBezTo>
                  <a:pt x="3875779" y="6724581"/>
                  <a:pt x="3875779" y="6535759"/>
                  <a:pt x="3810262" y="6420154"/>
                </a:cubicBezTo>
                <a:cubicBezTo>
                  <a:pt x="3810262" y="6420154"/>
                  <a:pt x="3810262" y="6420154"/>
                  <a:pt x="2961102" y="4941694"/>
                </a:cubicBezTo>
                <a:lnTo>
                  <a:pt x="2937921" y="4908297"/>
                </a:lnTo>
                <a:lnTo>
                  <a:pt x="2918773" y="4875174"/>
                </a:lnTo>
                <a:cubicBezTo>
                  <a:pt x="2862729" y="4778222"/>
                  <a:pt x="2793752" y="4658897"/>
                  <a:pt x="2708856" y="4512036"/>
                </a:cubicBezTo>
                <a:cubicBezTo>
                  <a:pt x="2691937" y="4482974"/>
                  <a:pt x="2697960" y="4457890"/>
                  <a:pt x="2720946" y="4447178"/>
                </a:cubicBezTo>
                <a:lnTo>
                  <a:pt x="2746422" y="4442214"/>
                </a:lnTo>
                <a:lnTo>
                  <a:pt x="2756015" y="4442214"/>
                </a:lnTo>
                <a:cubicBezTo>
                  <a:pt x="2819224" y="4442214"/>
                  <a:pt x="3021494" y="4442214"/>
                  <a:pt x="3668758" y="4442214"/>
                </a:cubicBezTo>
                <a:cubicBezTo>
                  <a:pt x="3742436" y="4442214"/>
                  <a:pt x="3832751" y="4389919"/>
                  <a:pt x="3869590" y="4326034"/>
                </a:cubicBezTo>
                <a:cubicBezTo>
                  <a:pt x="3869590" y="4326034"/>
                  <a:pt x="3869590" y="4326034"/>
                  <a:pt x="4340180" y="3510692"/>
                </a:cubicBezTo>
                <a:cubicBezTo>
                  <a:pt x="4377018" y="3447105"/>
                  <a:pt x="4377018" y="3342810"/>
                  <a:pt x="4340180" y="3278926"/>
                </a:cubicBezTo>
                <a:cubicBezTo>
                  <a:pt x="4340180" y="3278926"/>
                  <a:pt x="4340180" y="3278926"/>
                  <a:pt x="3869590" y="2463584"/>
                </a:cubicBezTo>
                <a:cubicBezTo>
                  <a:pt x="3841961" y="2415671"/>
                  <a:pt x="3784252" y="2374444"/>
                  <a:pt x="3726041" y="2356825"/>
                </a:cubicBezTo>
                <a:lnTo>
                  <a:pt x="3668961" y="2347734"/>
                </a:lnTo>
                <a:lnTo>
                  <a:pt x="3505115" y="2347734"/>
                </a:lnTo>
                <a:cubicBezTo>
                  <a:pt x="2732636" y="2347734"/>
                  <a:pt x="2729377" y="2347734"/>
                  <a:pt x="2729363" y="2347734"/>
                </a:cubicBezTo>
                <a:cubicBezTo>
                  <a:pt x="2655982" y="2347734"/>
                  <a:pt x="2565667" y="2400030"/>
                  <a:pt x="2528828" y="2463914"/>
                </a:cubicBezTo>
                <a:cubicBezTo>
                  <a:pt x="2059864" y="3275928"/>
                  <a:pt x="2057950" y="3279243"/>
                  <a:pt x="2057942" y="3279256"/>
                </a:cubicBezTo>
                <a:cubicBezTo>
                  <a:pt x="2021103" y="3342843"/>
                  <a:pt x="2021103" y="3447138"/>
                  <a:pt x="2057942" y="3511022"/>
                </a:cubicBezTo>
                <a:cubicBezTo>
                  <a:pt x="2150856" y="3672330"/>
                  <a:pt x="2232157" y="3813474"/>
                  <a:pt x="2303295" y="3936976"/>
                </a:cubicBezTo>
                <a:lnTo>
                  <a:pt x="2385586" y="4079840"/>
                </a:lnTo>
                <a:lnTo>
                  <a:pt x="2385872" y="4080886"/>
                </a:lnTo>
                <a:cubicBezTo>
                  <a:pt x="2385872" y="4080886"/>
                  <a:pt x="2385872" y="4080886"/>
                  <a:pt x="2467416" y="4222092"/>
                </a:cubicBezTo>
                <a:lnTo>
                  <a:pt x="2509890" y="4295642"/>
                </a:lnTo>
                <a:lnTo>
                  <a:pt x="2528988" y="4328797"/>
                </a:lnTo>
                <a:lnTo>
                  <a:pt x="2529157" y="4329005"/>
                </a:lnTo>
                <a:lnTo>
                  <a:pt x="2565024" y="4391116"/>
                </a:lnTo>
                <a:cubicBezTo>
                  <a:pt x="2606367" y="4462707"/>
                  <a:pt x="2657250" y="4550819"/>
                  <a:pt x="2719876" y="4659265"/>
                </a:cubicBezTo>
                <a:cubicBezTo>
                  <a:pt x="2742183" y="4697869"/>
                  <a:pt x="2723811" y="4729799"/>
                  <a:pt x="2679225" y="4729911"/>
                </a:cubicBezTo>
                <a:cubicBezTo>
                  <a:pt x="2679225" y="4729911"/>
                  <a:pt x="2679225" y="4729911"/>
                  <a:pt x="2411781" y="4730390"/>
                </a:cubicBezTo>
                <a:lnTo>
                  <a:pt x="2355833" y="4730490"/>
                </a:lnTo>
                <a:lnTo>
                  <a:pt x="2293907" y="4730350"/>
                </a:lnTo>
                <a:cubicBezTo>
                  <a:pt x="2057746" y="4729817"/>
                  <a:pt x="1637903" y="4728868"/>
                  <a:pt x="891516" y="4727182"/>
                </a:cubicBezTo>
                <a:cubicBezTo>
                  <a:pt x="759196" y="4727182"/>
                  <a:pt x="594760" y="4820951"/>
                  <a:pt x="527958" y="4936556"/>
                </a:cubicBezTo>
                <a:cubicBezTo>
                  <a:pt x="527958" y="4936556"/>
                  <a:pt x="527958" y="4936556"/>
                  <a:pt x="68354" y="5727502"/>
                </a:cubicBezTo>
                <a:lnTo>
                  <a:pt x="0" y="5845133"/>
                </a:lnTo>
                <a:lnTo>
                  <a:pt x="0" y="1307383"/>
                </a:lnTo>
                <a:lnTo>
                  <a:pt x="69908" y="1307234"/>
                </a:lnTo>
                <a:cubicBezTo>
                  <a:pt x="380029" y="1306572"/>
                  <a:pt x="381595" y="1306569"/>
                  <a:pt x="381603" y="1306569"/>
                </a:cubicBezTo>
                <a:cubicBezTo>
                  <a:pt x="455676" y="1306275"/>
                  <a:pt x="485951" y="1358608"/>
                  <a:pt x="449209" y="1422701"/>
                </a:cubicBezTo>
                <a:cubicBezTo>
                  <a:pt x="42396" y="2135148"/>
                  <a:pt x="40932" y="2137712"/>
                  <a:pt x="40927" y="2137721"/>
                </a:cubicBezTo>
                <a:cubicBezTo>
                  <a:pt x="4184" y="2201814"/>
                  <a:pt x="4478" y="2306480"/>
                  <a:pt x="41808" y="2370279"/>
                </a:cubicBezTo>
                <a:cubicBezTo>
                  <a:pt x="515837" y="3184840"/>
                  <a:pt x="517106" y="3187019"/>
                  <a:pt x="517109" y="3187025"/>
                </a:cubicBezTo>
                <a:cubicBezTo>
                  <a:pt x="554145" y="3250824"/>
                  <a:pt x="644973" y="3302569"/>
                  <a:pt x="718752" y="3302569"/>
                </a:cubicBezTo>
                <a:cubicBezTo>
                  <a:pt x="1660268" y="3299053"/>
                  <a:pt x="1663463" y="3299041"/>
                  <a:pt x="1663474" y="3299041"/>
                </a:cubicBezTo>
                <a:cubicBezTo>
                  <a:pt x="1737253" y="3298747"/>
                  <a:pt x="1827786" y="3246120"/>
                  <a:pt x="1864529" y="3182027"/>
                </a:cubicBezTo>
                <a:cubicBezTo>
                  <a:pt x="2332938" y="2363305"/>
                  <a:pt x="2333656" y="2362049"/>
                  <a:pt x="2333657" y="2362047"/>
                </a:cubicBezTo>
                <a:cubicBezTo>
                  <a:pt x="2370399" y="2297954"/>
                  <a:pt x="2370105" y="2193288"/>
                  <a:pt x="2333069" y="2129489"/>
                </a:cubicBezTo>
                <a:cubicBezTo>
                  <a:pt x="1859393" y="1315535"/>
                  <a:pt x="1857774" y="1312753"/>
                  <a:pt x="1857768" y="1312743"/>
                </a:cubicBezTo>
                <a:cubicBezTo>
                  <a:pt x="1820438" y="1248944"/>
                  <a:pt x="1729610" y="1196905"/>
                  <a:pt x="1655832" y="1197199"/>
                </a:cubicBezTo>
                <a:cubicBezTo>
                  <a:pt x="163159" y="1201311"/>
                  <a:pt x="161737" y="1201315"/>
                  <a:pt x="161736" y="1201315"/>
                </a:cubicBezTo>
                <a:cubicBezTo>
                  <a:pt x="87957" y="1201609"/>
                  <a:pt x="57387" y="1149276"/>
                  <a:pt x="94130" y="1085183"/>
                </a:cubicBezTo>
                <a:cubicBezTo>
                  <a:pt x="308606" y="710787"/>
                  <a:pt x="309873" y="708575"/>
                  <a:pt x="309881" y="708562"/>
                </a:cubicBezTo>
                <a:cubicBezTo>
                  <a:pt x="346624" y="644469"/>
                  <a:pt x="346036" y="539803"/>
                  <a:pt x="309000" y="476004"/>
                </a:cubicBezTo>
                <a:cubicBezTo>
                  <a:pt x="99568" y="116363"/>
                  <a:pt x="47210" y="26452"/>
                  <a:pt x="34120" y="3975"/>
                </a:cubicBez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7" name="Text Placeholder 12"/>
          <p:cNvSpPr>
            <a:spLocks noGrp="1"/>
          </p:cNvSpPr>
          <p:nvPr>
            <p:ph type="body" sz="quarter" idx="10" hasCustomPrompt="1"/>
          </p:nvPr>
        </p:nvSpPr>
        <p:spPr bwMode="gray">
          <a:xfrm>
            <a:off x="5159375" y="3644826"/>
            <a:ext cx="6408738" cy="576262"/>
          </a:xfrm>
          <a:prstGeom prst="rect">
            <a:avLst/>
          </a:prstGeom>
        </p:spPr>
        <p:txBody>
          <a:bodyPr>
            <a:noAutofit/>
          </a:bodyPr>
          <a:lstStyle>
            <a:lvl1pPr marL="0" indent="0">
              <a:spcBef>
                <a:spcPts val="0"/>
              </a:spcBef>
              <a:spcAft>
                <a:spcPts val="0"/>
              </a:spcAft>
              <a:buFont typeface="Arial" panose="020B0604020202020204" pitchFamily="34" charset="0"/>
              <a:buNone/>
              <a:defRPr sz="1600" baseline="0">
                <a:solidFill>
                  <a:schemeClr val="accent1"/>
                </a:solidFill>
              </a:defRPr>
            </a:lvl1pPr>
            <a:lvl2pPr marL="0" indent="0">
              <a:spcBef>
                <a:spcPts val="0"/>
              </a:spcBef>
              <a:spcAft>
                <a:spcPts val="0"/>
              </a:spcAft>
              <a:buNone/>
              <a:defRPr sz="1600">
                <a:solidFill>
                  <a:schemeClr val="accent1"/>
                </a:solidFill>
              </a:defRPr>
            </a:lvl2pPr>
            <a:lvl3pPr marL="0" indent="0">
              <a:spcBef>
                <a:spcPts val="0"/>
              </a:spcBef>
              <a:spcAft>
                <a:spcPts val="0"/>
              </a:spcAft>
              <a:buNone/>
              <a:defRPr sz="1600">
                <a:solidFill>
                  <a:schemeClr val="accent1"/>
                </a:solidFill>
              </a:defRPr>
            </a:lvl3pPr>
            <a:lvl4pPr marL="0" indent="0">
              <a:spcBef>
                <a:spcPts val="0"/>
              </a:spcBef>
              <a:spcAft>
                <a:spcPts val="0"/>
              </a:spcAft>
              <a:buNone/>
              <a:defRPr sz="1600">
                <a:solidFill>
                  <a:schemeClr val="accent1"/>
                </a:solidFill>
              </a:defRPr>
            </a:lvl4pPr>
            <a:lvl5pPr marL="0" indent="0">
              <a:spcBef>
                <a:spcPts val="0"/>
              </a:spcBef>
              <a:spcAft>
                <a:spcPts val="0"/>
              </a:spcAft>
              <a:buNone/>
              <a:defRPr sz="1600">
                <a:solidFill>
                  <a:schemeClr val="accent1"/>
                </a:solidFill>
              </a:defRPr>
            </a:lvl5pPr>
            <a:lvl6pPr marL="0" indent="0">
              <a:spcBef>
                <a:spcPts val="0"/>
              </a:spcBef>
              <a:spcAft>
                <a:spcPts val="0"/>
              </a:spcAft>
              <a:buNone/>
              <a:defRPr sz="1600">
                <a:solidFill>
                  <a:schemeClr val="accent1"/>
                </a:solidFill>
              </a:defRPr>
            </a:lvl6pPr>
            <a:lvl7pPr marL="0" indent="0">
              <a:spcBef>
                <a:spcPts val="0"/>
              </a:spcBef>
              <a:spcAft>
                <a:spcPts val="0"/>
              </a:spcAft>
              <a:buNone/>
              <a:defRPr sz="1600">
                <a:solidFill>
                  <a:schemeClr val="accent1"/>
                </a:solidFill>
              </a:defRPr>
            </a:lvl7pPr>
            <a:lvl8pPr marL="0" indent="0">
              <a:spcBef>
                <a:spcPts val="0"/>
              </a:spcBef>
              <a:spcAft>
                <a:spcPts val="0"/>
              </a:spcAft>
              <a:buNone/>
              <a:defRPr sz="1600">
                <a:solidFill>
                  <a:schemeClr val="accent1"/>
                </a:solidFill>
              </a:defRPr>
            </a:lvl8pPr>
            <a:lvl9pPr marL="0" indent="0">
              <a:spcBef>
                <a:spcPts val="0"/>
              </a:spcBef>
              <a:spcAft>
                <a:spcPts val="0"/>
              </a:spcAft>
              <a:buNone/>
              <a:defRPr sz="1600">
                <a:solidFill>
                  <a:schemeClr val="accent1"/>
                </a:solidFill>
              </a:defRPr>
            </a:lvl9pPr>
          </a:lstStyle>
          <a:p>
            <a:r>
              <a:rPr lang="en-US" noProof="0"/>
              <a:t>Name</a:t>
            </a:r>
            <a:br>
              <a:rPr lang="en-US" noProof="0"/>
            </a:br>
            <a:r>
              <a:rPr lang="en-US" noProof="0"/>
              <a:t>Place, Date</a:t>
            </a:r>
          </a:p>
        </p:txBody>
      </p:sp>
      <p:sp>
        <p:nvSpPr>
          <p:cNvPr id="3" name="Subtitle 2"/>
          <p:cNvSpPr>
            <a:spLocks noGrp="1"/>
          </p:cNvSpPr>
          <p:nvPr>
            <p:ph type="subTitle" idx="1" hasCustomPrompt="1"/>
          </p:nvPr>
        </p:nvSpPr>
        <p:spPr bwMode="gray">
          <a:xfrm>
            <a:off x="5160000" y="2924818"/>
            <a:ext cx="6408113" cy="576000"/>
          </a:xfrm>
          <a:prstGeom prst="rect">
            <a:avLst/>
          </a:prstGeom>
        </p:spPr>
        <p:txBody>
          <a:bodyPr>
            <a:noAutofit/>
          </a:bodyPr>
          <a:lstStyle>
            <a:lvl1pPr marL="0" indent="0" algn="l">
              <a:spcBef>
                <a:spcPts val="0"/>
              </a:spcBef>
              <a:spcAft>
                <a:spcPts val="1200"/>
              </a:spcAft>
              <a:buNone/>
              <a:defRPr sz="1600" b="1" i="0" baseline="0">
                <a:solidFill>
                  <a:schemeClr val="accent1"/>
                </a:solidFill>
                <a:latin typeface="+mn-lt"/>
              </a:defRPr>
            </a:lvl1pPr>
            <a:lvl2pPr marL="0" indent="0" algn="l">
              <a:spcBef>
                <a:spcPts val="0"/>
              </a:spcBef>
              <a:spcAft>
                <a:spcPts val="1200"/>
              </a:spcAft>
              <a:buNone/>
              <a:defRPr sz="1600" b="1">
                <a:solidFill>
                  <a:schemeClr val="accent1"/>
                </a:solidFill>
              </a:defRPr>
            </a:lvl2pPr>
            <a:lvl3pPr marL="0" indent="0" algn="l">
              <a:spcBef>
                <a:spcPts val="0"/>
              </a:spcBef>
              <a:spcAft>
                <a:spcPts val="1200"/>
              </a:spcAft>
              <a:buNone/>
              <a:defRPr sz="1600" b="1">
                <a:solidFill>
                  <a:schemeClr val="accent1"/>
                </a:solidFill>
              </a:defRPr>
            </a:lvl3pPr>
            <a:lvl4pPr marL="0" indent="0" algn="l">
              <a:spcBef>
                <a:spcPts val="0"/>
              </a:spcBef>
              <a:spcAft>
                <a:spcPts val="1200"/>
              </a:spcAft>
              <a:buNone/>
              <a:defRPr sz="1600" b="1">
                <a:solidFill>
                  <a:schemeClr val="accent1"/>
                </a:solidFill>
              </a:defRPr>
            </a:lvl4pPr>
            <a:lvl5pPr marL="0" indent="0" algn="l">
              <a:spcBef>
                <a:spcPts val="0"/>
              </a:spcBef>
              <a:spcAft>
                <a:spcPts val="1200"/>
              </a:spcAft>
              <a:buNone/>
              <a:defRPr sz="1600" b="1">
                <a:solidFill>
                  <a:schemeClr val="accent1"/>
                </a:solidFill>
              </a:defRPr>
            </a:lvl5pPr>
            <a:lvl6pPr marL="0" indent="0" algn="l">
              <a:spcBef>
                <a:spcPts val="0"/>
              </a:spcBef>
              <a:spcAft>
                <a:spcPts val="1200"/>
              </a:spcAft>
              <a:buNone/>
              <a:defRPr sz="1600" b="1">
                <a:solidFill>
                  <a:schemeClr val="accent1"/>
                </a:solidFill>
              </a:defRPr>
            </a:lvl6pPr>
            <a:lvl7pPr marL="0" indent="0" algn="l">
              <a:spcBef>
                <a:spcPts val="0"/>
              </a:spcBef>
              <a:spcAft>
                <a:spcPts val="1200"/>
              </a:spcAft>
              <a:buNone/>
              <a:defRPr sz="1600" b="1">
                <a:solidFill>
                  <a:schemeClr val="accent1"/>
                </a:solidFill>
              </a:defRPr>
            </a:lvl7pPr>
            <a:lvl8pPr marL="0" indent="0" algn="l">
              <a:spcBef>
                <a:spcPts val="0"/>
              </a:spcBef>
              <a:spcAft>
                <a:spcPts val="1200"/>
              </a:spcAft>
              <a:buNone/>
              <a:defRPr sz="1600" b="1">
                <a:solidFill>
                  <a:schemeClr val="accent1"/>
                </a:solidFill>
              </a:defRPr>
            </a:lvl8pPr>
            <a:lvl9pPr marL="0" indent="0" algn="l">
              <a:spcBef>
                <a:spcPts val="0"/>
              </a:spcBef>
              <a:spcAft>
                <a:spcPts val="1200"/>
              </a:spcAft>
              <a:buNone/>
              <a:defRPr sz="1600" b="1">
                <a:solidFill>
                  <a:schemeClr val="accent1"/>
                </a:solidFill>
              </a:defRPr>
            </a:lvl9pPr>
          </a:lstStyle>
          <a:p>
            <a:pPr lvl="0"/>
            <a:r>
              <a:rPr lang="en-US" noProof="0"/>
              <a:t>Subtitle and other information of this presentation</a:t>
            </a:r>
            <a:endParaRPr lang="en-US"/>
          </a:p>
          <a:p>
            <a:pPr lvl="0"/>
            <a:endParaRPr lang="en-US" noProof="0"/>
          </a:p>
        </p:txBody>
      </p:sp>
      <p:sp>
        <p:nvSpPr>
          <p:cNvPr id="2" name="Title 1"/>
          <p:cNvSpPr>
            <a:spLocks noGrp="1"/>
          </p:cNvSpPr>
          <p:nvPr>
            <p:ph type="ctrTitle" hasCustomPrompt="1"/>
          </p:nvPr>
        </p:nvSpPr>
        <p:spPr bwMode="gray">
          <a:xfrm>
            <a:off x="5160000" y="1532405"/>
            <a:ext cx="6408113" cy="1249282"/>
          </a:xfrm>
          <a:prstGeom prst="rect">
            <a:avLst/>
          </a:prstGeom>
          <a:noFill/>
        </p:spPr>
        <p:txBody>
          <a:bodyPr anchor="b"/>
          <a:lstStyle>
            <a:lvl1pPr algn="l">
              <a:lnSpc>
                <a:spcPct val="100000"/>
              </a:lnSpc>
              <a:defRPr sz="4000" cap="none" baseline="0">
                <a:latin typeface="Merck" panose="04040805020F02020302" pitchFamily="82" charset="0"/>
                <a:ea typeface="Verdana" panose="020B0604030504040204" pitchFamily="34" charset="0"/>
                <a:cs typeface="Verdana" panose="020B0604030504040204" pitchFamily="34" charset="0"/>
              </a:defRPr>
            </a:lvl1pPr>
          </a:lstStyle>
          <a:p>
            <a:r>
              <a:rPr lang="en-US" noProof="0"/>
              <a:t>Title of presentation</a:t>
            </a:r>
          </a:p>
        </p:txBody>
      </p:sp>
      <p:grpSp>
        <p:nvGrpSpPr>
          <p:cNvPr id="12" name="Logo Merck"/>
          <p:cNvGrpSpPr>
            <a:grpSpLocks noChangeAspect="1"/>
          </p:cNvGrpSpPr>
          <p:nvPr userDrawn="1"/>
        </p:nvGrpSpPr>
        <p:grpSpPr bwMode="gray">
          <a:xfrm>
            <a:off x="9536024" y="6170950"/>
            <a:ext cx="2248608" cy="354050"/>
            <a:chOff x="396364" y="7173520"/>
            <a:chExt cx="1871956" cy="294745"/>
          </a:xfrm>
          <a:solidFill>
            <a:schemeClr val="bg2"/>
          </a:solidFill>
        </p:grpSpPr>
        <p:sp>
          <p:nvSpPr>
            <p:cNvPr id="14"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5"/>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pic>
        <p:nvPicPr>
          <p:cNvPr id="4" name="Grafik 3"/>
          <p:cNvPicPr>
            <a:picLocks noChangeAspect="1"/>
          </p:cNvPicPr>
          <p:nvPr userDrawn="1"/>
        </p:nvPicPr>
        <p:blipFill>
          <a:blip r:embed="rId5"/>
          <a:stretch>
            <a:fillRect/>
          </a:stretch>
        </p:blipFill>
        <p:spPr bwMode="gray">
          <a:xfrm>
            <a:off x="468665" y="5341463"/>
            <a:ext cx="2520000" cy="1254424"/>
          </a:xfrm>
          <a:prstGeom prst="rect">
            <a:avLst/>
          </a:prstGeom>
        </p:spPr>
      </p:pic>
    </p:spTree>
    <p:extLst>
      <p:ext uri="{BB962C8B-B14F-4D97-AF65-F5344CB8AC3E}">
        <p14:creationId xmlns:p14="http://schemas.microsoft.com/office/powerpoint/2010/main" val="40990199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Synthetic">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Rectangle 15"/>
          <p:cNvSpPr/>
          <p:nvPr userDrawn="1"/>
        </p:nvSpPr>
        <p:spPr bwMode="gray">
          <a:xfrm>
            <a:off x="1" y="0"/>
            <a:ext cx="12192000" cy="6858001"/>
          </a:xfrm>
          <a:prstGeom prst="rect">
            <a:avLst/>
          </a:prstGeom>
          <a:solidFill>
            <a:srgbClr val="50329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8" name="Freeform 6"/>
          <p:cNvSpPr>
            <a:spLocks noEditPoints="1"/>
          </p:cNvSpPr>
          <p:nvPr userDrawn="1"/>
        </p:nvSpPr>
        <p:spPr bwMode="gray">
          <a:xfrm>
            <a:off x="463543" y="486048"/>
            <a:ext cx="4883069" cy="5475233"/>
          </a:xfrm>
          <a:custGeom>
            <a:avLst/>
            <a:gdLst>
              <a:gd name="T0" fmla="*/ 1263 w 1588"/>
              <a:gd name="T1" fmla="*/ 1439 h 1779"/>
              <a:gd name="T2" fmla="*/ 1172 w 1588"/>
              <a:gd name="T3" fmla="*/ 1552 h 1779"/>
              <a:gd name="T4" fmla="*/ 1028 w 1588"/>
              <a:gd name="T5" fmla="*/ 1530 h 1779"/>
              <a:gd name="T6" fmla="*/ 897 w 1588"/>
              <a:gd name="T7" fmla="*/ 1348 h 1779"/>
              <a:gd name="T8" fmla="*/ 781 w 1588"/>
              <a:gd name="T9" fmla="*/ 1506 h 1779"/>
              <a:gd name="T10" fmla="*/ 563 w 1588"/>
              <a:gd name="T11" fmla="*/ 1484 h 1779"/>
              <a:gd name="T12" fmla="*/ 473 w 1588"/>
              <a:gd name="T13" fmla="*/ 1284 h 1779"/>
              <a:gd name="T14" fmla="*/ 601 w 1588"/>
              <a:gd name="T15" fmla="*/ 1106 h 1779"/>
              <a:gd name="T16" fmla="*/ 819 w 1588"/>
              <a:gd name="T17" fmla="*/ 1128 h 1779"/>
              <a:gd name="T18" fmla="*/ 987 w 1588"/>
              <a:gd name="T19" fmla="*/ 1374 h 1779"/>
              <a:gd name="T20" fmla="*/ 1066 w 1588"/>
              <a:gd name="T21" fmla="*/ 1281 h 1779"/>
              <a:gd name="T22" fmla="*/ 1210 w 1588"/>
              <a:gd name="T23" fmla="*/ 1303 h 1779"/>
              <a:gd name="T24" fmla="*/ 463 w 1588"/>
              <a:gd name="T25" fmla="*/ 891 h 1779"/>
              <a:gd name="T26" fmla="*/ 551 w 1588"/>
              <a:gd name="T27" fmla="*/ 667 h 1779"/>
              <a:gd name="T28" fmla="*/ 962 w 1588"/>
              <a:gd name="T29" fmla="*/ 629 h 1779"/>
              <a:gd name="T30" fmla="*/ 854 w 1588"/>
              <a:gd name="T31" fmla="*/ 368 h 1779"/>
              <a:gd name="T32" fmla="*/ 1003 w 1588"/>
              <a:gd name="T33" fmla="*/ 36 h 1779"/>
              <a:gd name="T34" fmla="*/ 1364 w 1588"/>
              <a:gd name="T35" fmla="*/ 0 h 1779"/>
              <a:gd name="T36" fmla="*/ 1577 w 1588"/>
              <a:gd name="T37" fmla="*/ 294 h 1779"/>
              <a:gd name="T38" fmla="*/ 1428 w 1588"/>
              <a:gd name="T39" fmla="*/ 626 h 1779"/>
              <a:gd name="T40" fmla="*/ 893 w 1588"/>
              <a:gd name="T41" fmla="*/ 663 h 1779"/>
              <a:gd name="T42" fmla="*/ 940 w 1588"/>
              <a:gd name="T43" fmla="*/ 818 h 1779"/>
              <a:gd name="T44" fmla="*/ 853 w 1588"/>
              <a:gd name="T45" fmla="*/ 1043 h 1779"/>
              <a:gd name="T46" fmla="*/ 614 w 1588"/>
              <a:gd name="T47" fmla="*/ 1079 h 1779"/>
              <a:gd name="T48" fmla="*/ 463 w 1588"/>
              <a:gd name="T49" fmla="*/ 891 h 1779"/>
              <a:gd name="T50" fmla="*/ 117 w 1588"/>
              <a:gd name="T51" fmla="*/ 884 h 1779"/>
              <a:gd name="T52" fmla="*/ 381 w 1588"/>
              <a:gd name="T53" fmla="*/ 857 h 1779"/>
              <a:gd name="T54" fmla="*/ 536 w 1588"/>
              <a:gd name="T55" fmla="*/ 1073 h 1779"/>
              <a:gd name="T56" fmla="*/ 364 w 1588"/>
              <a:gd name="T57" fmla="*/ 1424 h 1779"/>
              <a:gd name="T58" fmla="*/ 479 w 1588"/>
              <a:gd name="T59" fmla="*/ 1451 h 1779"/>
              <a:gd name="T60" fmla="*/ 590 w 1588"/>
              <a:gd name="T61" fmla="*/ 1588 h 1779"/>
              <a:gd name="T62" fmla="*/ 526 w 1588"/>
              <a:gd name="T63" fmla="*/ 1752 h 1779"/>
              <a:gd name="T64" fmla="*/ 352 w 1588"/>
              <a:gd name="T65" fmla="*/ 1779 h 1779"/>
              <a:gd name="T66" fmla="*/ 242 w 1588"/>
              <a:gd name="T67" fmla="*/ 1642 h 1779"/>
              <a:gd name="T68" fmla="*/ 368 w 1588"/>
              <a:gd name="T69" fmla="*/ 1368 h 1779"/>
              <a:gd name="T70" fmla="*/ 163 w 1588"/>
              <a:gd name="T71" fmla="*/ 1341 h 1779"/>
              <a:gd name="T72" fmla="*/ 8 w 1588"/>
              <a:gd name="T73" fmla="*/ 1126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88" h="1779">
                <a:moveTo>
                  <a:pt x="1263" y="1394"/>
                </a:moveTo>
                <a:cubicBezTo>
                  <a:pt x="1270" y="1406"/>
                  <a:pt x="1270" y="1426"/>
                  <a:pt x="1263" y="1439"/>
                </a:cubicBezTo>
                <a:cubicBezTo>
                  <a:pt x="1210" y="1530"/>
                  <a:pt x="1210" y="1530"/>
                  <a:pt x="1210" y="1530"/>
                </a:cubicBezTo>
                <a:cubicBezTo>
                  <a:pt x="1203" y="1542"/>
                  <a:pt x="1186" y="1552"/>
                  <a:pt x="1172" y="1552"/>
                </a:cubicBezTo>
                <a:cubicBezTo>
                  <a:pt x="1066" y="1552"/>
                  <a:pt x="1066" y="1552"/>
                  <a:pt x="1066" y="1552"/>
                </a:cubicBezTo>
                <a:cubicBezTo>
                  <a:pt x="1052" y="1552"/>
                  <a:pt x="1035" y="1542"/>
                  <a:pt x="1028" y="1530"/>
                </a:cubicBezTo>
                <a:cubicBezTo>
                  <a:pt x="923" y="1348"/>
                  <a:pt x="923" y="1348"/>
                  <a:pt x="923" y="1348"/>
                </a:cubicBezTo>
                <a:cubicBezTo>
                  <a:pt x="916" y="1336"/>
                  <a:pt x="904" y="1336"/>
                  <a:pt x="897" y="1348"/>
                </a:cubicBezTo>
                <a:cubicBezTo>
                  <a:pt x="819" y="1484"/>
                  <a:pt x="819" y="1484"/>
                  <a:pt x="819" y="1484"/>
                </a:cubicBezTo>
                <a:cubicBezTo>
                  <a:pt x="812" y="1496"/>
                  <a:pt x="795" y="1506"/>
                  <a:pt x="781" y="1506"/>
                </a:cubicBezTo>
                <a:cubicBezTo>
                  <a:pt x="601" y="1506"/>
                  <a:pt x="601" y="1506"/>
                  <a:pt x="601" y="1506"/>
                </a:cubicBezTo>
                <a:cubicBezTo>
                  <a:pt x="587" y="1506"/>
                  <a:pt x="570" y="1496"/>
                  <a:pt x="563" y="1484"/>
                </a:cubicBezTo>
                <a:cubicBezTo>
                  <a:pt x="473" y="1328"/>
                  <a:pt x="473" y="1328"/>
                  <a:pt x="473" y="1328"/>
                </a:cubicBezTo>
                <a:cubicBezTo>
                  <a:pt x="466" y="1316"/>
                  <a:pt x="466" y="1296"/>
                  <a:pt x="473" y="1284"/>
                </a:cubicBezTo>
                <a:cubicBezTo>
                  <a:pt x="563" y="1128"/>
                  <a:pt x="563" y="1128"/>
                  <a:pt x="563" y="1128"/>
                </a:cubicBezTo>
                <a:cubicBezTo>
                  <a:pt x="570" y="1116"/>
                  <a:pt x="587" y="1106"/>
                  <a:pt x="601" y="1106"/>
                </a:cubicBezTo>
                <a:cubicBezTo>
                  <a:pt x="781" y="1106"/>
                  <a:pt x="781" y="1106"/>
                  <a:pt x="781" y="1106"/>
                </a:cubicBezTo>
                <a:cubicBezTo>
                  <a:pt x="795" y="1106"/>
                  <a:pt x="812" y="1116"/>
                  <a:pt x="819" y="1128"/>
                </a:cubicBezTo>
                <a:cubicBezTo>
                  <a:pt x="961" y="1374"/>
                  <a:pt x="961" y="1374"/>
                  <a:pt x="961" y="1374"/>
                </a:cubicBezTo>
                <a:cubicBezTo>
                  <a:pt x="968" y="1387"/>
                  <a:pt x="980" y="1387"/>
                  <a:pt x="987" y="1374"/>
                </a:cubicBezTo>
                <a:cubicBezTo>
                  <a:pt x="1028" y="1303"/>
                  <a:pt x="1028" y="1303"/>
                  <a:pt x="1028" y="1303"/>
                </a:cubicBezTo>
                <a:cubicBezTo>
                  <a:pt x="1035" y="1291"/>
                  <a:pt x="1052" y="1281"/>
                  <a:pt x="1066" y="1281"/>
                </a:cubicBezTo>
                <a:cubicBezTo>
                  <a:pt x="1172" y="1281"/>
                  <a:pt x="1172" y="1281"/>
                  <a:pt x="1172" y="1281"/>
                </a:cubicBezTo>
                <a:cubicBezTo>
                  <a:pt x="1186" y="1281"/>
                  <a:pt x="1203" y="1291"/>
                  <a:pt x="1210" y="1303"/>
                </a:cubicBezTo>
                <a:lnTo>
                  <a:pt x="1263" y="1394"/>
                </a:lnTo>
                <a:close/>
                <a:moveTo>
                  <a:pt x="463" y="891"/>
                </a:moveTo>
                <a:cubicBezTo>
                  <a:pt x="452" y="871"/>
                  <a:pt x="452" y="838"/>
                  <a:pt x="463" y="818"/>
                </a:cubicBezTo>
                <a:cubicBezTo>
                  <a:pt x="551" y="667"/>
                  <a:pt x="551" y="667"/>
                  <a:pt x="551" y="667"/>
                </a:cubicBezTo>
                <a:cubicBezTo>
                  <a:pt x="562" y="646"/>
                  <a:pt x="591" y="630"/>
                  <a:pt x="614" y="630"/>
                </a:cubicBezTo>
                <a:cubicBezTo>
                  <a:pt x="962" y="629"/>
                  <a:pt x="962" y="629"/>
                  <a:pt x="962" y="629"/>
                </a:cubicBezTo>
                <a:cubicBezTo>
                  <a:pt x="985" y="629"/>
                  <a:pt x="995" y="613"/>
                  <a:pt x="983" y="593"/>
                </a:cubicBezTo>
                <a:cubicBezTo>
                  <a:pt x="854" y="368"/>
                  <a:pt x="854" y="368"/>
                  <a:pt x="854" y="368"/>
                </a:cubicBezTo>
                <a:cubicBezTo>
                  <a:pt x="842" y="347"/>
                  <a:pt x="842" y="314"/>
                  <a:pt x="854" y="294"/>
                </a:cubicBezTo>
                <a:cubicBezTo>
                  <a:pt x="1003" y="36"/>
                  <a:pt x="1003" y="36"/>
                  <a:pt x="1003" y="36"/>
                </a:cubicBezTo>
                <a:cubicBezTo>
                  <a:pt x="1014" y="16"/>
                  <a:pt x="1043" y="0"/>
                  <a:pt x="1066" y="0"/>
                </a:cubicBezTo>
                <a:cubicBezTo>
                  <a:pt x="1364" y="0"/>
                  <a:pt x="1364" y="0"/>
                  <a:pt x="1364" y="0"/>
                </a:cubicBezTo>
                <a:cubicBezTo>
                  <a:pt x="1387" y="0"/>
                  <a:pt x="1416" y="16"/>
                  <a:pt x="1428" y="36"/>
                </a:cubicBezTo>
                <a:cubicBezTo>
                  <a:pt x="1577" y="294"/>
                  <a:pt x="1577" y="294"/>
                  <a:pt x="1577" y="294"/>
                </a:cubicBezTo>
                <a:cubicBezTo>
                  <a:pt x="1588" y="314"/>
                  <a:pt x="1588" y="347"/>
                  <a:pt x="1577" y="368"/>
                </a:cubicBezTo>
                <a:cubicBezTo>
                  <a:pt x="1428" y="626"/>
                  <a:pt x="1428" y="626"/>
                  <a:pt x="1428" y="626"/>
                </a:cubicBezTo>
                <a:cubicBezTo>
                  <a:pt x="1416" y="646"/>
                  <a:pt x="1387" y="662"/>
                  <a:pt x="1364" y="662"/>
                </a:cubicBezTo>
                <a:cubicBezTo>
                  <a:pt x="893" y="663"/>
                  <a:pt x="893" y="663"/>
                  <a:pt x="893" y="663"/>
                </a:cubicBezTo>
                <a:cubicBezTo>
                  <a:pt x="870" y="663"/>
                  <a:pt x="860" y="679"/>
                  <a:pt x="872" y="699"/>
                </a:cubicBezTo>
                <a:cubicBezTo>
                  <a:pt x="940" y="818"/>
                  <a:pt x="940" y="818"/>
                  <a:pt x="940" y="818"/>
                </a:cubicBezTo>
                <a:cubicBezTo>
                  <a:pt x="952" y="838"/>
                  <a:pt x="952" y="871"/>
                  <a:pt x="940" y="891"/>
                </a:cubicBezTo>
                <a:cubicBezTo>
                  <a:pt x="853" y="1043"/>
                  <a:pt x="853" y="1043"/>
                  <a:pt x="853" y="1043"/>
                </a:cubicBezTo>
                <a:cubicBezTo>
                  <a:pt x="841" y="1063"/>
                  <a:pt x="812" y="1079"/>
                  <a:pt x="789" y="1079"/>
                </a:cubicBezTo>
                <a:cubicBezTo>
                  <a:pt x="614" y="1079"/>
                  <a:pt x="614" y="1079"/>
                  <a:pt x="614" y="1079"/>
                </a:cubicBezTo>
                <a:cubicBezTo>
                  <a:pt x="591" y="1079"/>
                  <a:pt x="562" y="1063"/>
                  <a:pt x="551" y="1043"/>
                </a:cubicBezTo>
                <a:lnTo>
                  <a:pt x="463" y="891"/>
                </a:lnTo>
                <a:close/>
                <a:moveTo>
                  <a:pt x="8" y="1073"/>
                </a:moveTo>
                <a:cubicBezTo>
                  <a:pt x="117" y="884"/>
                  <a:pt x="117" y="884"/>
                  <a:pt x="117" y="884"/>
                </a:cubicBezTo>
                <a:cubicBezTo>
                  <a:pt x="125" y="869"/>
                  <a:pt x="146" y="857"/>
                  <a:pt x="163" y="857"/>
                </a:cubicBezTo>
                <a:cubicBezTo>
                  <a:pt x="381" y="857"/>
                  <a:pt x="381" y="857"/>
                  <a:pt x="381" y="857"/>
                </a:cubicBezTo>
                <a:cubicBezTo>
                  <a:pt x="398" y="857"/>
                  <a:pt x="418" y="869"/>
                  <a:pt x="427" y="884"/>
                </a:cubicBezTo>
                <a:cubicBezTo>
                  <a:pt x="536" y="1073"/>
                  <a:pt x="536" y="1073"/>
                  <a:pt x="536" y="1073"/>
                </a:cubicBezTo>
                <a:cubicBezTo>
                  <a:pt x="544" y="1087"/>
                  <a:pt x="544" y="1111"/>
                  <a:pt x="536" y="1126"/>
                </a:cubicBezTo>
                <a:cubicBezTo>
                  <a:pt x="364" y="1424"/>
                  <a:pt x="364" y="1424"/>
                  <a:pt x="364" y="1424"/>
                </a:cubicBezTo>
                <a:cubicBezTo>
                  <a:pt x="356" y="1439"/>
                  <a:pt x="362" y="1451"/>
                  <a:pt x="379" y="1451"/>
                </a:cubicBezTo>
                <a:cubicBezTo>
                  <a:pt x="479" y="1451"/>
                  <a:pt x="479" y="1451"/>
                  <a:pt x="479" y="1451"/>
                </a:cubicBezTo>
                <a:cubicBezTo>
                  <a:pt x="496" y="1451"/>
                  <a:pt x="517" y="1463"/>
                  <a:pt x="526" y="1478"/>
                </a:cubicBezTo>
                <a:cubicBezTo>
                  <a:pt x="590" y="1588"/>
                  <a:pt x="590" y="1588"/>
                  <a:pt x="590" y="1588"/>
                </a:cubicBezTo>
                <a:cubicBezTo>
                  <a:pt x="598" y="1603"/>
                  <a:pt x="598" y="1627"/>
                  <a:pt x="590" y="1642"/>
                </a:cubicBezTo>
                <a:cubicBezTo>
                  <a:pt x="526" y="1752"/>
                  <a:pt x="526" y="1752"/>
                  <a:pt x="526" y="1752"/>
                </a:cubicBezTo>
                <a:cubicBezTo>
                  <a:pt x="517" y="1767"/>
                  <a:pt x="496" y="1779"/>
                  <a:pt x="479" y="1779"/>
                </a:cubicBezTo>
                <a:cubicBezTo>
                  <a:pt x="352" y="1779"/>
                  <a:pt x="352" y="1779"/>
                  <a:pt x="352" y="1779"/>
                </a:cubicBezTo>
                <a:cubicBezTo>
                  <a:pt x="335" y="1779"/>
                  <a:pt x="314" y="1767"/>
                  <a:pt x="305" y="1752"/>
                </a:cubicBezTo>
                <a:cubicBezTo>
                  <a:pt x="242" y="1642"/>
                  <a:pt x="242" y="1642"/>
                  <a:pt x="242" y="1642"/>
                </a:cubicBezTo>
                <a:cubicBezTo>
                  <a:pt x="233" y="1627"/>
                  <a:pt x="233" y="1603"/>
                  <a:pt x="242" y="1588"/>
                </a:cubicBezTo>
                <a:cubicBezTo>
                  <a:pt x="368" y="1368"/>
                  <a:pt x="368" y="1368"/>
                  <a:pt x="368" y="1368"/>
                </a:cubicBezTo>
                <a:cubicBezTo>
                  <a:pt x="377" y="1353"/>
                  <a:pt x="370" y="1341"/>
                  <a:pt x="353" y="1341"/>
                </a:cubicBezTo>
                <a:cubicBezTo>
                  <a:pt x="163" y="1341"/>
                  <a:pt x="163" y="1341"/>
                  <a:pt x="163" y="1341"/>
                </a:cubicBezTo>
                <a:cubicBezTo>
                  <a:pt x="146" y="1341"/>
                  <a:pt x="125" y="1329"/>
                  <a:pt x="117" y="1314"/>
                </a:cubicBezTo>
                <a:cubicBezTo>
                  <a:pt x="8" y="1126"/>
                  <a:pt x="8" y="1126"/>
                  <a:pt x="8" y="1126"/>
                </a:cubicBezTo>
                <a:cubicBezTo>
                  <a:pt x="0" y="1111"/>
                  <a:pt x="0" y="1087"/>
                  <a:pt x="8" y="1073"/>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8"/>
          <p:cNvSpPr/>
          <p:nvPr userDrawn="1"/>
        </p:nvSpPr>
        <p:spPr bwMode="gray">
          <a:xfrm>
            <a:off x="0" y="0"/>
            <a:ext cx="12192000" cy="6858000"/>
          </a:xfrm>
          <a:custGeom>
            <a:avLst/>
            <a:gdLst>
              <a:gd name="connsiteX0" fmla="*/ 4456428 w 12192000"/>
              <a:gd name="connsiteY0" fmla="*/ 0 h 6858000"/>
              <a:gd name="connsiteX1" fmla="*/ 12192000 w 12192000"/>
              <a:gd name="connsiteY1" fmla="*/ 0 h 6858000"/>
              <a:gd name="connsiteX2" fmla="*/ 12192000 w 12192000"/>
              <a:gd name="connsiteY2" fmla="*/ 6858000 h 6858000"/>
              <a:gd name="connsiteX3" fmla="*/ 6910377 w 12192000"/>
              <a:gd name="connsiteY3" fmla="*/ 6858000 h 6858000"/>
              <a:gd name="connsiteX4" fmla="*/ 6944008 w 12192000"/>
              <a:gd name="connsiteY4" fmla="*/ 6799742 h 6858000"/>
              <a:gd name="connsiteX5" fmla="*/ 7200786 w 12192000"/>
              <a:gd name="connsiteY5" fmla="*/ 6354938 h 6858000"/>
              <a:gd name="connsiteX6" fmla="*/ 7200786 w 12192000"/>
              <a:gd name="connsiteY6" fmla="*/ 5837908 h 6858000"/>
              <a:gd name="connsiteX7" fmla="*/ 6149027 w 12192000"/>
              <a:gd name="connsiteY7" fmla="*/ 4012915 h 6858000"/>
              <a:gd name="connsiteX8" fmla="*/ 5703106 w 12192000"/>
              <a:gd name="connsiteY8" fmla="*/ 3754400 h 6858000"/>
              <a:gd name="connsiteX9" fmla="*/ 3870218 w 12192000"/>
              <a:gd name="connsiteY9" fmla="*/ 3754400 h 6858000"/>
              <a:gd name="connsiteX10" fmla="*/ 3719527 w 12192000"/>
              <a:gd name="connsiteY10" fmla="*/ 3492808 h 6858000"/>
              <a:gd name="connsiteX11" fmla="*/ 4943503 w 12192000"/>
              <a:gd name="connsiteY11" fmla="*/ 1363137 h 6858000"/>
              <a:gd name="connsiteX12" fmla="*/ 4943503 w 12192000"/>
              <a:gd name="connsiteY12" fmla="*/ 846107 h 6858000"/>
              <a:gd name="connsiteX13" fmla="*/ 4462168 w 12192000"/>
              <a:gd name="connsiteY13" fmla="*/ 9972 h 6858000"/>
              <a:gd name="connsiteX14" fmla="*/ 0 w 12192000"/>
              <a:gd name="connsiteY14" fmla="*/ 0 h 6858000"/>
              <a:gd name="connsiteX15" fmla="*/ 2066183 w 12192000"/>
              <a:gd name="connsiteY15" fmla="*/ 0 h 6858000"/>
              <a:gd name="connsiteX16" fmla="*/ 1982011 w 12192000"/>
              <a:gd name="connsiteY16" fmla="*/ 146217 h 6858000"/>
              <a:gd name="connsiteX17" fmla="*/ 1579108 w 12192000"/>
              <a:gd name="connsiteY17" fmla="*/ 846107 h 6858000"/>
              <a:gd name="connsiteX18" fmla="*/ 1579108 w 12192000"/>
              <a:gd name="connsiteY18" fmla="*/ 1363137 h 6858000"/>
              <a:gd name="connsiteX19" fmla="*/ 2194171 w 12192000"/>
              <a:gd name="connsiteY19" fmla="*/ 2434127 h 6858000"/>
              <a:gd name="connsiteX20" fmla="*/ 2643167 w 12192000"/>
              <a:gd name="connsiteY20" fmla="*/ 2692642 h 6858000"/>
              <a:gd name="connsiteX21" fmla="*/ 3608816 w 12192000"/>
              <a:gd name="connsiteY21" fmla="*/ 2692642 h 6858000"/>
              <a:gd name="connsiteX22" fmla="*/ 3759507 w 12192000"/>
              <a:gd name="connsiteY22" fmla="*/ 2951157 h 6858000"/>
              <a:gd name="connsiteX23" fmla="*/ 2098836 w 12192000"/>
              <a:gd name="connsiteY23" fmla="*/ 5837908 h 6858000"/>
              <a:gd name="connsiteX24" fmla="*/ 2098836 w 12192000"/>
              <a:gd name="connsiteY24" fmla="*/ 6354938 h 6858000"/>
              <a:gd name="connsiteX25" fmla="*/ 2367778 w 12192000"/>
              <a:gd name="connsiteY25" fmla="*/ 6820814 h 6858000"/>
              <a:gd name="connsiteX26" fmla="*/ 2389244 w 12192000"/>
              <a:gd name="connsiteY26" fmla="*/ 6858000 h 6858000"/>
              <a:gd name="connsiteX27" fmla="*/ 2077708 w 12192000"/>
              <a:gd name="connsiteY27" fmla="*/ 6858000 h 6858000"/>
              <a:gd name="connsiteX28" fmla="*/ 2060010 w 12192000"/>
              <a:gd name="connsiteY28" fmla="*/ 6827344 h 6858000"/>
              <a:gd name="connsiteX29" fmla="*/ 1954296 w 12192000"/>
              <a:gd name="connsiteY29" fmla="*/ 6644229 h 6858000"/>
              <a:gd name="connsiteX30" fmla="*/ 1339233 w 12192000"/>
              <a:gd name="connsiteY30" fmla="*/ 6287232 h 6858000"/>
              <a:gd name="connsiteX31" fmla="*/ 60754 w 12192000"/>
              <a:gd name="connsiteY31" fmla="*/ 6287232 h 6858000"/>
              <a:gd name="connsiteX32" fmla="*/ 0 w 12192000"/>
              <a:gd name="connsiteY32" fmla="*/ 6287232 h 6858000"/>
              <a:gd name="connsiteX33" fmla="*/ 0 w 12192000"/>
              <a:gd name="connsiteY33" fmla="*/ 6028717 h 6858000"/>
              <a:gd name="connsiteX34" fmla="*/ 34162 w 12192000"/>
              <a:gd name="connsiteY34" fmla="*/ 6028717 h 6858000"/>
              <a:gd name="connsiteX35" fmla="*/ 1468396 w 12192000"/>
              <a:gd name="connsiteY35" fmla="*/ 6028717 h 6858000"/>
              <a:gd name="connsiteX36" fmla="*/ 1837434 w 12192000"/>
              <a:gd name="connsiteY36" fmla="*/ 5813288 h 6858000"/>
              <a:gd name="connsiteX37" fmla="*/ 2707749 w 12192000"/>
              <a:gd name="connsiteY37" fmla="*/ 4308361 h 6858000"/>
              <a:gd name="connsiteX38" fmla="*/ 2707749 w 12192000"/>
              <a:gd name="connsiteY38" fmla="*/ 3880580 h 6858000"/>
              <a:gd name="connsiteX39" fmla="*/ 1837434 w 12192000"/>
              <a:gd name="connsiteY39" fmla="*/ 2372576 h 6858000"/>
              <a:gd name="connsiteX40" fmla="*/ 1468396 w 12192000"/>
              <a:gd name="connsiteY40" fmla="*/ 2160224 h 6858000"/>
              <a:gd name="connsiteX41" fmla="*/ 37562 w 12192000"/>
              <a:gd name="connsiteY41" fmla="*/ 2160224 h 6858000"/>
              <a:gd name="connsiteX42" fmla="*/ 0 w 12192000"/>
              <a:gd name="connsiteY42" fmla="*/ 21602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192000" h="6858000">
                <a:moveTo>
                  <a:pt x="4456428" y="0"/>
                </a:moveTo>
                <a:lnTo>
                  <a:pt x="12192000" y="0"/>
                </a:lnTo>
                <a:lnTo>
                  <a:pt x="12192000" y="6858000"/>
                </a:lnTo>
                <a:lnTo>
                  <a:pt x="6910377" y="6858000"/>
                </a:lnTo>
                <a:lnTo>
                  <a:pt x="6944008" y="6799742"/>
                </a:lnTo>
                <a:cubicBezTo>
                  <a:pt x="7200786" y="6354938"/>
                  <a:pt x="7200786" y="6354938"/>
                  <a:pt x="7200786" y="6354938"/>
                </a:cubicBezTo>
                <a:cubicBezTo>
                  <a:pt x="7283818" y="6213370"/>
                  <a:pt x="7283818" y="5979476"/>
                  <a:pt x="7200786" y="5837908"/>
                </a:cubicBezTo>
                <a:cubicBezTo>
                  <a:pt x="6149027" y="4012915"/>
                  <a:pt x="6149027" y="4012915"/>
                  <a:pt x="6149027" y="4012915"/>
                </a:cubicBezTo>
                <a:cubicBezTo>
                  <a:pt x="6069069" y="3871348"/>
                  <a:pt x="5866098" y="3754400"/>
                  <a:pt x="5703106" y="3754400"/>
                </a:cubicBezTo>
                <a:cubicBezTo>
                  <a:pt x="3870218" y="3754400"/>
                  <a:pt x="3870218" y="3754400"/>
                  <a:pt x="3870218" y="3754400"/>
                </a:cubicBezTo>
                <a:cubicBezTo>
                  <a:pt x="3704151" y="3754400"/>
                  <a:pt x="3636494" y="3637453"/>
                  <a:pt x="3719527" y="3492808"/>
                </a:cubicBezTo>
                <a:cubicBezTo>
                  <a:pt x="4943503" y="1363137"/>
                  <a:pt x="4943503" y="1363137"/>
                  <a:pt x="4943503" y="1363137"/>
                </a:cubicBezTo>
                <a:cubicBezTo>
                  <a:pt x="5026537" y="1221569"/>
                  <a:pt x="5026537" y="987674"/>
                  <a:pt x="4943503" y="846107"/>
                </a:cubicBezTo>
                <a:cubicBezTo>
                  <a:pt x="4576772" y="209052"/>
                  <a:pt x="4485089" y="49788"/>
                  <a:pt x="4462168" y="9972"/>
                </a:cubicBezTo>
                <a:close/>
                <a:moveTo>
                  <a:pt x="0" y="0"/>
                </a:moveTo>
                <a:lnTo>
                  <a:pt x="2066183" y="0"/>
                </a:lnTo>
                <a:lnTo>
                  <a:pt x="1982011" y="146217"/>
                </a:lnTo>
                <a:cubicBezTo>
                  <a:pt x="1579108" y="846107"/>
                  <a:pt x="1579108" y="846107"/>
                  <a:pt x="1579108" y="846107"/>
                </a:cubicBezTo>
                <a:cubicBezTo>
                  <a:pt x="1496074" y="987674"/>
                  <a:pt x="1496074" y="1221569"/>
                  <a:pt x="1579108" y="1363137"/>
                </a:cubicBezTo>
                <a:cubicBezTo>
                  <a:pt x="2194171" y="2434127"/>
                  <a:pt x="2194171" y="2434127"/>
                  <a:pt x="2194171" y="2434127"/>
                </a:cubicBezTo>
                <a:cubicBezTo>
                  <a:pt x="2277204" y="2575695"/>
                  <a:pt x="2480175" y="2692642"/>
                  <a:pt x="2643167" y="2692642"/>
                </a:cubicBezTo>
                <a:cubicBezTo>
                  <a:pt x="3608816" y="2692642"/>
                  <a:pt x="3608816" y="2692642"/>
                  <a:pt x="3608816" y="2692642"/>
                </a:cubicBezTo>
                <a:cubicBezTo>
                  <a:pt x="3774883" y="2692642"/>
                  <a:pt x="3842540" y="2809590"/>
                  <a:pt x="3759507" y="2951157"/>
                </a:cubicBezTo>
                <a:cubicBezTo>
                  <a:pt x="2098836" y="5837908"/>
                  <a:pt x="2098836" y="5837908"/>
                  <a:pt x="2098836" y="5837908"/>
                </a:cubicBezTo>
                <a:cubicBezTo>
                  <a:pt x="2015802" y="5979476"/>
                  <a:pt x="2015802" y="6213370"/>
                  <a:pt x="2098836" y="6354938"/>
                </a:cubicBezTo>
                <a:cubicBezTo>
                  <a:pt x="2197438" y="6525743"/>
                  <a:pt x="2286797" y="6680534"/>
                  <a:pt x="2367778" y="6820814"/>
                </a:cubicBezTo>
                <a:lnTo>
                  <a:pt x="2389244" y="6858000"/>
                </a:lnTo>
                <a:lnTo>
                  <a:pt x="2077708" y="6858000"/>
                </a:lnTo>
                <a:lnTo>
                  <a:pt x="2060010" y="6827344"/>
                </a:lnTo>
                <a:cubicBezTo>
                  <a:pt x="1954296" y="6644229"/>
                  <a:pt x="1954296" y="6644229"/>
                  <a:pt x="1954296" y="6644229"/>
                </a:cubicBezTo>
                <a:cubicBezTo>
                  <a:pt x="1840509" y="6447265"/>
                  <a:pt x="1563731" y="6287232"/>
                  <a:pt x="1339233" y="6287232"/>
                </a:cubicBezTo>
                <a:cubicBezTo>
                  <a:pt x="704949" y="6287232"/>
                  <a:pt x="308521" y="6287232"/>
                  <a:pt x="60754" y="6287232"/>
                </a:cubicBezTo>
                <a:lnTo>
                  <a:pt x="0" y="6287232"/>
                </a:lnTo>
                <a:lnTo>
                  <a:pt x="0" y="6028717"/>
                </a:lnTo>
                <a:lnTo>
                  <a:pt x="34162" y="6028717"/>
                </a:lnTo>
                <a:cubicBezTo>
                  <a:pt x="1468396" y="6028717"/>
                  <a:pt x="1468396" y="6028717"/>
                  <a:pt x="1468396" y="6028717"/>
                </a:cubicBezTo>
                <a:cubicBezTo>
                  <a:pt x="1603710" y="6028717"/>
                  <a:pt x="1769777" y="5933312"/>
                  <a:pt x="1837434" y="5813288"/>
                </a:cubicBezTo>
                <a:cubicBezTo>
                  <a:pt x="2707749" y="4308361"/>
                  <a:pt x="2707749" y="4308361"/>
                  <a:pt x="2707749" y="4308361"/>
                </a:cubicBezTo>
                <a:cubicBezTo>
                  <a:pt x="2775405" y="4191414"/>
                  <a:pt x="2775405" y="3997527"/>
                  <a:pt x="2707749" y="3880580"/>
                </a:cubicBezTo>
                <a:lnTo>
                  <a:pt x="1837434" y="2372576"/>
                </a:lnTo>
                <a:cubicBezTo>
                  <a:pt x="1769777" y="2255629"/>
                  <a:pt x="1603710" y="2160224"/>
                  <a:pt x="1468396" y="2160224"/>
                </a:cubicBezTo>
                <a:cubicBezTo>
                  <a:pt x="706871" y="2160224"/>
                  <a:pt x="278513" y="2160224"/>
                  <a:pt x="37562" y="2160224"/>
                </a:cubicBezTo>
                <a:lnTo>
                  <a:pt x="0" y="2160224"/>
                </a:ln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7" name="Text Placeholder 16"/>
          <p:cNvSpPr>
            <a:spLocks noGrp="1"/>
          </p:cNvSpPr>
          <p:nvPr>
            <p:ph type="body" sz="quarter" idx="13" hasCustomPrompt="1"/>
          </p:nvPr>
        </p:nvSpPr>
        <p:spPr bwMode="gray">
          <a:xfrm>
            <a:off x="6001475" y="1799192"/>
            <a:ext cx="1006525" cy="648325"/>
          </a:xfrm>
          <a:prstGeom prst="rect">
            <a:avLst/>
          </a:prstGeom>
        </p:spPr>
        <p:txBody>
          <a:bodyPr wrap="none"/>
          <a:lstStyle>
            <a:lvl1pPr marL="0" indent="0">
              <a:buFont typeface="Arial" panose="020B0604020202020204" pitchFamily="34" charset="0"/>
              <a:buNone/>
              <a:defRPr sz="4800" b="0">
                <a:ln>
                  <a:solidFill>
                    <a:schemeClr val="bg2"/>
                  </a:solidFill>
                </a:ln>
                <a:noFill/>
                <a:latin typeface="Merck" panose="04040805020F02020302" pitchFamily="82" charset="0"/>
              </a:defRPr>
            </a:lvl1pPr>
            <a:lvl2pPr marL="0" indent="0">
              <a:spcBef>
                <a:spcPts val="600"/>
              </a:spcBef>
              <a:buFont typeface="Arial" panose="020B0604020202020204" pitchFamily="34" charset="0"/>
              <a:buNone/>
              <a:defRPr sz="4800" b="0">
                <a:ln>
                  <a:solidFill>
                    <a:schemeClr val="bg2"/>
                  </a:solidFill>
                </a:ln>
                <a:noFill/>
                <a:latin typeface="Merck" panose="04040805020F02020302" pitchFamily="82" charset="0"/>
              </a:defRPr>
            </a:lvl2pPr>
            <a:lvl3pPr marL="0" indent="0">
              <a:spcBef>
                <a:spcPts val="600"/>
              </a:spcBef>
              <a:buNone/>
              <a:defRPr sz="4800" b="0">
                <a:ln>
                  <a:solidFill>
                    <a:schemeClr val="bg2"/>
                  </a:solidFill>
                </a:ln>
                <a:noFill/>
                <a:latin typeface="Merck" panose="04040805020F02020302" pitchFamily="82" charset="0"/>
              </a:defRPr>
            </a:lvl3pPr>
            <a:lvl4pPr marL="0" indent="0">
              <a:spcBef>
                <a:spcPts val="600"/>
              </a:spcBef>
              <a:buNone/>
              <a:defRPr sz="4800" b="0">
                <a:ln>
                  <a:solidFill>
                    <a:schemeClr val="bg2"/>
                  </a:solidFill>
                </a:ln>
                <a:noFill/>
                <a:latin typeface="Merck" panose="04040805020F02020302" pitchFamily="82" charset="0"/>
              </a:defRPr>
            </a:lvl4pPr>
            <a:lvl5pPr marL="0" indent="0">
              <a:spcBef>
                <a:spcPts val="600"/>
              </a:spcBef>
              <a:buNone/>
              <a:defRPr sz="4800" b="0">
                <a:ln>
                  <a:solidFill>
                    <a:schemeClr val="bg2"/>
                  </a:solidFill>
                </a:ln>
                <a:noFill/>
                <a:latin typeface="Merck" panose="04040805020F02020302" pitchFamily="82" charset="0"/>
              </a:defRPr>
            </a:lvl5pPr>
            <a:lvl6pPr marL="0" indent="0">
              <a:spcBef>
                <a:spcPts val="600"/>
              </a:spcBef>
              <a:buNone/>
              <a:defRPr sz="4800" b="0">
                <a:ln>
                  <a:solidFill>
                    <a:schemeClr val="bg2"/>
                  </a:solidFill>
                </a:ln>
                <a:noFill/>
                <a:latin typeface="Merck" panose="04040805020F02020302" pitchFamily="82" charset="0"/>
              </a:defRPr>
            </a:lvl6pPr>
            <a:lvl7pPr marL="0" indent="0">
              <a:spcBef>
                <a:spcPts val="600"/>
              </a:spcBef>
              <a:buNone/>
              <a:defRPr sz="4800" b="0">
                <a:ln>
                  <a:solidFill>
                    <a:schemeClr val="bg2"/>
                  </a:solidFill>
                </a:ln>
                <a:noFill/>
                <a:latin typeface="Merck" panose="04040805020F02020302" pitchFamily="82" charset="0"/>
              </a:defRPr>
            </a:lvl7pPr>
            <a:lvl8pPr marL="0" indent="0">
              <a:spcBef>
                <a:spcPts val="600"/>
              </a:spcBef>
              <a:buNone/>
              <a:defRPr sz="4800" b="0">
                <a:ln>
                  <a:solidFill>
                    <a:schemeClr val="bg2"/>
                  </a:solidFill>
                </a:ln>
                <a:noFill/>
                <a:latin typeface="Merck" panose="04040805020F02020302" pitchFamily="82" charset="0"/>
              </a:defRPr>
            </a:lvl8pPr>
            <a:lvl9pPr marL="0" indent="0">
              <a:spcBef>
                <a:spcPts val="600"/>
              </a:spcBef>
              <a:buNone/>
              <a:defRPr sz="4800" b="0">
                <a:ln>
                  <a:solidFill>
                    <a:schemeClr val="bg2"/>
                  </a:solidFill>
                </a:ln>
                <a:noFill/>
                <a:latin typeface="Merck" panose="04040805020F02020302" pitchFamily="82" charset="0"/>
              </a:defRPr>
            </a:lvl9pPr>
          </a:lstStyle>
          <a:p>
            <a:pPr lvl="0"/>
            <a:r>
              <a:rPr lang="en-US" noProof="0"/>
              <a:t>00</a:t>
            </a:r>
            <a:endParaRPr lang="en-US"/>
          </a:p>
          <a:p>
            <a:pPr lvl="0"/>
            <a:endParaRPr lang="en-US" noProof="0"/>
          </a:p>
        </p:txBody>
      </p:sp>
      <p:sp>
        <p:nvSpPr>
          <p:cNvPr id="2" name="Title 1"/>
          <p:cNvSpPr>
            <a:spLocks noGrp="1"/>
          </p:cNvSpPr>
          <p:nvPr>
            <p:ph type="title" hasCustomPrompt="1"/>
          </p:nvPr>
        </p:nvSpPr>
        <p:spPr bwMode="gray">
          <a:xfrm>
            <a:off x="7176119" y="1879992"/>
            <a:ext cx="4657508" cy="1734697"/>
          </a:xfrm>
          <a:prstGeom prst="rect">
            <a:avLst/>
          </a:prstGeom>
          <a:noFill/>
        </p:spPr>
        <p:txBody>
          <a:bodyPr tIns="72000" bIns="0" anchor="t" anchorCtr="0"/>
          <a:lstStyle>
            <a:lvl1pPr>
              <a:lnSpc>
                <a:spcPct val="100000"/>
              </a:lnSpc>
              <a:defRPr sz="3600" cap="none" baseline="0">
                <a:latin typeface="Merck" panose="04040805020F02020302" pitchFamily="82" charset="0"/>
              </a:defRPr>
            </a:lvl1pPr>
          </a:lstStyle>
          <a:p>
            <a:pPr lvl="0"/>
            <a:r>
              <a:rPr lang="en-US" noProof="0"/>
              <a:t>Chapter name </a:t>
            </a:r>
            <a:br>
              <a:rPr lang="en-US" noProof="0"/>
            </a:br>
            <a:r>
              <a:rPr lang="en-US" noProof="0"/>
              <a:t>in two lines</a:t>
            </a:r>
          </a:p>
        </p:txBody>
      </p:sp>
      <p:grpSp>
        <p:nvGrpSpPr>
          <p:cNvPr id="10" name="Group 9"/>
          <p:cNvGrpSpPr>
            <a:grpSpLocks noChangeAspect="1"/>
          </p:cNvGrpSpPr>
          <p:nvPr userDrawn="1">
            <p:custDataLst>
              <p:tags r:id="rId2"/>
            </p:custDataLst>
          </p:nvPr>
        </p:nvGrpSpPr>
        <p:grpSpPr bwMode="gray">
          <a:xfrm>
            <a:off x="10539522" y="6440320"/>
            <a:ext cx="1028592" cy="162000"/>
            <a:chOff x="-4548188" y="3063875"/>
            <a:chExt cx="2741613" cy="431800"/>
          </a:xfrm>
          <a:solidFill>
            <a:schemeClr val="bg2"/>
          </a:solidFill>
        </p:grpSpPr>
        <p:sp>
          <p:nvSpPr>
            <p:cNvPr id="11" name="Freeform 9"/>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3"/>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2"/>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406641266"/>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Plastic">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ctangle 13"/>
          <p:cNvSpPr/>
          <p:nvPr userDrawn="1"/>
        </p:nvSpPr>
        <p:spPr bwMode="gray">
          <a:xfrm>
            <a:off x="1" y="0"/>
            <a:ext cx="12192000" cy="6858001"/>
          </a:xfrm>
          <a:prstGeom prst="rect">
            <a:avLst/>
          </a:prstGeom>
          <a:solidFill>
            <a:srgbClr val="50329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16" name="Freeform 15"/>
          <p:cNvSpPr/>
          <p:nvPr userDrawn="1"/>
        </p:nvSpPr>
        <p:spPr bwMode="gray">
          <a:xfrm>
            <a:off x="0" y="0"/>
            <a:ext cx="8832236" cy="6858000"/>
          </a:xfrm>
          <a:custGeom>
            <a:avLst/>
            <a:gdLst>
              <a:gd name="connsiteX0" fmla="*/ 1333675 w 8832236"/>
              <a:gd name="connsiteY0" fmla="*/ 0 h 6858000"/>
              <a:gd name="connsiteX1" fmla="*/ 1543197 w 8832236"/>
              <a:gd name="connsiteY1" fmla="*/ 0 h 6858000"/>
              <a:gd name="connsiteX2" fmla="*/ 1739629 w 8832236"/>
              <a:gd name="connsiteY2" fmla="*/ 0 h 6858000"/>
              <a:gd name="connsiteX3" fmla="*/ 1923392 w 8832236"/>
              <a:gd name="connsiteY3" fmla="*/ 0 h 6858000"/>
              <a:gd name="connsiteX4" fmla="*/ 2094910 w 8832236"/>
              <a:gd name="connsiteY4" fmla="*/ 0 h 6858000"/>
              <a:gd name="connsiteX5" fmla="*/ 2402895 w 8832236"/>
              <a:gd name="connsiteY5" fmla="*/ 0 h 6858000"/>
              <a:gd name="connsiteX6" fmla="*/ 2666962 w 8832236"/>
              <a:gd name="connsiteY6" fmla="*/ 0 h 6858000"/>
              <a:gd name="connsiteX7" fmla="*/ 2890490 w 8832236"/>
              <a:gd name="connsiteY7" fmla="*/ 0 h 6858000"/>
              <a:gd name="connsiteX8" fmla="*/ 3076858 w 8832236"/>
              <a:gd name="connsiteY8" fmla="*/ 0 h 6858000"/>
              <a:gd name="connsiteX9" fmla="*/ 3229442 w 8832236"/>
              <a:gd name="connsiteY9" fmla="*/ 0 h 6858000"/>
              <a:gd name="connsiteX10" fmla="*/ 3351623 w 8832236"/>
              <a:gd name="connsiteY10" fmla="*/ 0 h 6858000"/>
              <a:gd name="connsiteX11" fmla="*/ 3446777 w 8832236"/>
              <a:gd name="connsiteY11" fmla="*/ 0 h 6858000"/>
              <a:gd name="connsiteX12" fmla="*/ 3518284 w 8832236"/>
              <a:gd name="connsiteY12" fmla="*/ 0 h 6858000"/>
              <a:gd name="connsiteX13" fmla="*/ 3569521 w 8832236"/>
              <a:gd name="connsiteY13" fmla="*/ 0 h 6858000"/>
              <a:gd name="connsiteX14" fmla="*/ 3603867 w 8832236"/>
              <a:gd name="connsiteY14" fmla="*/ 0 h 6858000"/>
              <a:gd name="connsiteX15" fmla="*/ 3624699 w 8832236"/>
              <a:gd name="connsiteY15" fmla="*/ 0 h 6858000"/>
              <a:gd name="connsiteX16" fmla="*/ 3635397 w 8832236"/>
              <a:gd name="connsiteY16" fmla="*/ 0 h 6858000"/>
              <a:gd name="connsiteX17" fmla="*/ 3639901 w 8832236"/>
              <a:gd name="connsiteY17" fmla="*/ 0 h 6858000"/>
              <a:gd name="connsiteX18" fmla="*/ 3703874 w 8832236"/>
              <a:gd name="connsiteY18" fmla="*/ 368087 h 6858000"/>
              <a:gd name="connsiteX19" fmla="*/ 4081315 w 8832236"/>
              <a:gd name="connsiteY19" fmla="*/ 368087 h 6858000"/>
              <a:gd name="connsiteX20" fmla="*/ 4145288 w 8832236"/>
              <a:gd name="connsiteY20" fmla="*/ 595341 h 6858000"/>
              <a:gd name="connsiteX21" fmla="*/ 3707073 w 8832236"/>
              <a:gd name="connsiteY21" fmla="*/ 707368 h 6858000"/>
              <a:gd name="connsiteX22" fmla="*/ 2520374 w 8832236"/>
              <a:gd name="connsiteY22" fmla="*/ 822595 h 6858000"/>
              <a:gd name="connsiteX23" fmla="*/ 1848657 w 8832236"/>
              <a:gd name="connsiteY23" fmla="*/ 1273902 h 6858000"/>
              <a:gd name="connsiteX24" fmla="*/ 1375257 w 8832236"/>
              <a:gd name="connsiteY24" fmla="*/ 2160511 h 6858000"/>
              <a:gd name="connsiteX25" fmla="*/ 1247311 w 8832236"/>
              <a:gd name="connsiteY25" fmla="*/ 2589413 h 6858000"/>
              <a:gd name="connsiteX26" fmla="*/ 1253709 w 8832236"/>
              <a:gd name="connsiteY26" fmla="*/ 3034318 h 6858000"/>
              <a:gd name="connsiteX27" fmla="*/ 1544786 w 8832236"/>
              <a:gd name="connsiteY27" fmla="*/ 4532273 h 6858000"/>
              <a:gd name="connsiteX28" fmla="*/ 1986199 w 8832236"/>
              <a:gd name="connsiteY28" fmla="*/ 5278049 h 6858000"/>
              <a:gd name="connsiteX29" fmla="*/ 3495962 w 8832236"/>
              <a:gd name="connsiteY29" fmla="*/ 6529546 h 6858000"/>
              <a:gd name="connsiteX30" fmla="*/ 4298823 w 8832236"/>
              <a:gd name="connsiteY30" fmla="*/ 6724792 h 6858000"/>
              <a:gd name="connsiteX31" fmla="*/ 6768180 w 8832236"/>
              <a:gd name="connsiteY31" fmla="*/ 6174262 h 6858000"/>
              <a:gd name="connsiteX32" fmla="*/ 8824911 w 8832236"/>
              <a:gd name="connsiteY32" fmla="*/ 6779205 h 6858000"/>
              <a:gd name="connsiteX33" fmla="*/ 8832236 w 8832236"/>
              <a:gd name="connsiteY33" fmla="*/ 6858000 h 6858000"/>
              <a:gd name="connsiteX34" fmla="*/ 3544539 w 8832236"/>
              <a:gd name="connsiteY34" fmla="*/ 6858000 h 6858000"/>
              <a:gd name="connsiteX35" fmla="*/ 3492763 w 8832236"/>
              <a:gd name="connsiteY35" fmla="*/ 6808012 h 6858000"/>
              <a:gd name="connsiteX36" fmla="*/ 1877445 w 8832236"/>
              <a:gd name="connsiteY36" fmla="*/ 5476496 h 6858000"/>
              <a:gd name="connsiteX37" fmla="*/ 1173742 w 8832236"/>
              <a:gd name="connsiteY37" fmla="*/ 5486099 h 6858000"/>
              <a:gd name="connsiteX38" fmla="*/ 703541 w 8832236"/>
              <a:gd name="connsiteY38" fmla="*/ 5895796 h 6858000"/>
              <a:gd name="connsiteX39" fmla="*/ 118188 w 8832236"/>
              <a:gd name="connsiteY39" fmla="*/ 6379110 h 6858000"/>
              <a:gd name="connsiteX40" fmla="*/ 3143 w 8832236"/>
              <a:gd name="connsiteY40" fmla="*/ 5345084 h 6858000"/>
              <a:gd name="connsiteX41" fmla="*/ 0 w 8832236"/>
              <a:gd name="connsiteY41" fmla="*/ 5310760 h 6858000"/>
              <a:gd name="connsiteX42" fmla="*/ 0 w 8832236"/>
              <a:gd name="connsiteY42" fmla="*/ 2620801 h 6858000"/>
              <a:gd name="connsiteX43" fmla="*/ 53610 w 8832236"/>
              <a:gd name="connsiteY43" fmla="*/ 2608649 h 6858000"/>
              <a:gd name="connsiteX44" fmla="*/ 194956 w 8832236"/>
              <a:gd name="connsiteY44" fmla="*/ 2576610 h 6858000"/>
              <a:gd name="connsiteX45" fmla="*/ 508423 w 8832236"/>
              <a:gd name="connsiteY45" fmla="*/ 2525398 h 6858000"/>
              <a:gd name="connsiteX46" fmla="*/ 1176941 w 8832236"/>
              <a:gd name="connsiteY46" fmla="*/ 2042084 h 6858000"/>
              <a:gd name="connsiteX47" fmla="*/ 1621553 w 8832236"/>
              <a:gd name="connsiteY47" fmla="*/ 1200284 h 6858000"/>
              <a:gd name="connsiteX48" fmla="*/ 1589567 w 8832236"/>
              <a:gd name="connsiteY48" fmla="*/ 406496 h 6858000"/>
              <a:gd name="connsiteX49" fmla="*/ 1333675 w 8832236"/>
              <a:gd name="connsiteY49"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8832236" h="6858000">
                <a:moveTo>
                  <a:pt x="1333675" y="0"/>
                </a:moveTo>
                <a:lnTo>
                  <a:pt x="1543197" y="0"/>
                </a:lnTo>
                <a:lnTo>
                  <a:pt x="1739629" y="0"/>
                </a:lnTo>
                <a:lnTo>
                  <a:pt x="1923392" y="0"/>
                </a:lnTo>
                <a:lnTo>
                  <a:pt x="2094910" y="0"/>
                </a:lnTo>
                <a:lnTo>
                  <a:pt x="2402895" y="0"/>
                </a:lnTo>
                <a:lnTo>
                  <a:pt x="2666962" y="0"/>
                </a:lnTo>
                <a:lnTo>
                  <a:pt x="2890490" y="0"/>
                </a:lnTo>
                <a:lnTo>
                  <a:pt x="3076858" y="0"/>
                </a:lnTo>
                <a:lnTo>
                  <a:pt x="3229442" y="0"/>
                </a:lnTo>
                <a:lnTo>
                  <a:pt x="3351623" y="0"/>
                </a:lnTo>
                <a:lnTo>
                  <a:pt x="3446777" y="0"/>
                </a:lnTo>
                <a:lnTo>
                  <a:pt x="3518284" y="0"/>
                </a:lnTo>
                <a:lnTo>
                  <a:pt x="3569521" y="0"/>
                </a:lnTo>
                <a:lnTo>
                  <a:pt x="3603867" y="0"/>
                </a:lnTo>
                <a:lnTo>
                  <a:pt x="3624699" y="0"/>
                </a:lnTo>
                <a:lnTo>
                  <a:pt x="3635397" y="0"/>
                </a:lnTo>
                <a:lnTo>
                  <a:pt x="3639901" y="0"/>
                </a:lnTo>
                <a:cubicBezTo>
                  <a:pt x="3703874" y="368087"/>
                  <a:pt x="3703874" y="368087"/>
                  <a:pt x="3703874" y="368087"/>
                </a:cubicBezTo>
                <a:cubicBezTo>
                  <a:pt x="4081315" y="368087"/>
                  <a:pt x="4081315" y="368087"/>
                  <a:pt x="4081315" y="368087"/>
                </a:cubicBezTo>
                <a:cubicBezTo>
                  <a:pt x="4145288" y="595341"/>
                  <a:pt x="4145288" y="595341"/>
                  <a:pt x="4145288" y="595341"/>
                </a:cubicBezTo>
                <a:cubicBezTo>
                  <a:pt x="3707073" y="707368"/>
                  <a:pt x="3707073" y="707368"/>
                  <a:pt x="3707073" y="707368"/>
                </a:cubicBezTo>
                <a:cubicBezTo>
                  <a:pt x="2520374" y="822595"/>
                  <a:pt x="2520374" y="822595"/>
                  <a:pt x="2520374" y="822595"/>
                </a:cubicBezTo>
                <a:cubicBezTo>
                  <a:pt x="2270879" y="848201"/>
                  <a:pt x="1967008" y="1053049"/>
                  <a:pt x="1848657" y="1273902"/>
                </a:cubicBezTo>
                <a:cubicBezTo>
                  <a:pt x="1375257" y="2160511"/>
                  <a:pt x="1375257" y="2160511"/>
                  <a:pt x="1375257" y="2160511"/>
                </a:cubicBezTo>
                <a:cubicBezTo>
                  <a:pt x="1317682" y="2272538"/>
                  <a:pt x="1272901" y="2429375"/>
                  <a:pt x="1247311" y="2589413"/>
                </a:cubicBezTo>
                <a:cubicBezTo>
                  <a:pt x="1253709" y="3034318"/>
                  <a:pt x="1253709" y="3034318"/>
                  <a:pt x="1253709" y="3034318"/>
                </a:cubicBezTo>
                <a:cubicBezTo>
                  <a:pt x="1544786" y="4532273"/>
                  <a:pt x="1544786" y="4532273"/>
                  <a:pt x="1544786" y="4532273"/>
                </a:cubicBezTo>
                <a:cubicBezTo>
                  <a:pt x="1592766" y="4778731"/>
                  <a:pt x="1794280" y="5114811"/>
                  <a:pt x="1986199" y="5278049"/>
                </a:cubicBezTo>
                <a:cubicBezTo>
                  <a:pt x="3495962" y="6529546"/>
                  <a:pt x="3495962" y="6529546"/>
                  <a:pt x="3495962" y="6529546"/>
                </a:cubicBezTo>
                <a:cubicBezTo>
                  <a:pt x="3687881" y="6692784"/>
                  <a:pt x="4049328" y="6779205"/>
                  <a:pt x="4298823" y="6724792"/>
                </a:cubicBezTo>
                <a:cubicBezTo>
                  <a:pt x="6768180" y="6174262"/>
                  <a:pt x="6768180" y="6174262"/>
                  <a:pt x="6768180" y="6174262"/>
                </a:cubicBezTo>
                <a:cubicBezTo>
                  <a:pt x="8824911" y="6779205"/>
                  <a:pt x="8824911" y="6779205"/>
                  <a:pt x="8824911" y="6779205"/>
                </a:cubicBezTo>
                <a:lnTo>
                  <a:pt x="8832236" y="6858000"/>
                </a:lnTo>
                <a:lnTo>
                  <a:pt x="3544539" y="6858000"/>
                </a:lnTo>
                <a:lnTo>
                  <a:pt x="3492763" y="6808012"/>
                </a:lnTo>
                <a:cubicBezTo>
                  <a:pt x="1877445" y="5476496"/>
                  <a:pt x="1877445" y="5476496"/>
                  <a:pt x="1877445" y="5476496"/>
                </a:cubicBezTo>
                <a:cubicBezTo>
                  <a:pt x="1682328" y="5316459"/>
                  <a:pt x="1365661" y="5319659"/>
                  <a:pt x="1173742" y="5486099"/>
                </a:cubicBezTo>
                <a:cubicBezTo>
                  <a:pt x="703541" y="5895796"/>
                  <a:pt x="703541" y="5895796"/>
                  <a:pt x="703541" y="5895796"/>
                </a:cubicBezTo>
                <a:cubicBezTo>
                  <a:pt x="118188" y="6379110"/>
                  <a:pt x="118188" y="6379110"/>
                  <a:pt x="118188" y="6379110"/>
                </a:cubicBezTo>
                <a:cubicBezTo>
                  <a:pt x="110191" y="6303092"/>
                  <a:pt x="43469" y="5766965"/>
                  <a:pt x="3143" y="5345084"/>
                </a:cubicBezTo>
                <a:lnTo>
                  <a:pt x="0" y="5310760"/>
                </a:lnTo>
                <a:lnTo>
                  <a:pt x="0" y="2620801"/>
                </a:lnTo>
                <a:lnTo>
                  <a:pt x="53610" y="2608649"/>
                </a:lnTo>
                <a:cubicBezTo>
                  <a:pt x="194956" y="2576610"/>
                  <a:pt x="194956" y="2576610"/>
                  <a:pt x="194956" y="2576610"/>
                </a:cubicBezTo>
                <a:cubicBezTo>
                  <a:pt x="508423" y="2525398"/>
                  <a:pt x="508423" y="2525398"/>
                  <a:pt x="508423" y="2525398"/>
                </a:cubicBezTo>
                <a:cubicBezTo>
                  <a:pt x="757918" y="2483788"/>
                  <a:pt x="1058591" y="2266137"/>
                  <a:pt x="1176941" y="2042084"/>
                </a:cubicBezTo>
                <a:cubicBezTo>
                  <a:pt x="1621553" y="1200284"/>
                  <a:pt x="1621553" y="1200284"/>
                  <a:pt x="1621553" y="1200284"/>
                </a:cubicBezTo>
                <a:cubicBezTo>
                  <a:pt x="1739903" y="976231"/>
                  <a:pt x="1727109" y="620947"/>
                  <a:pt x="1589567" y="406496"/>
                </a:cubicBezTo>
                <a:cubicBezTo>
                  <a:pt x="1333675" y="0"/>
                  <a:pt x="1333675" y="0"/>
                  <a:pt x="1333675" y="0"/>
                </a:cubicBez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7" name="Freeform 16"/>
          <p:cNvSpPr/>
          <p:nvPr userDrawn="1"/>
        </p:nvSpPr>
        <p:spPr bwMode="gray">
          <a:xfrm>
            <a:off x="0" y="0"/>
            <a:ext cx="12192000" cy="6858000"/>
          </a:xfrm>
          <a:custGeom>
            <a:avLst/>
            <a:gdLst>
              <a:gd name="connsiteX0" fmla="*/ 3639563 w 12192000"/>
              <a:gd name="connsiteY0" fmla="*/ 0 h 6858000"/>
              <a:gd name="connsiteX1" fmla="*/ 4053406 w 12192000"/>
              <a:gd name="connsiteY1" fmla="*/ 0 h 6858000"/>
              <a:gd name="connsiteX2" fmla="*/ 4441393 w 12192000"/>
              <a:gd name="connsiteY2" fmla="*/ 0 h 6858000"/>
              <a:gd name="connsiteX3" fmla="*/ 4804357 w 12192000"/>
              <a:gd name="connsiteY3" fmla="*/ 0 h 6858000"/>
              <a:gd name="connsiteX4" fmla="*/ 5143133 w 12192000"/>
              <a:gd name="connsiteY4" fmla="*/ 0 h 6858000"/>
              <a:gd name="connsiteX5" fmla="*/ 5458554 w 12192000"/>
              <a:gd name="connsiteY5" fmla="*/ 0 h 6858000"/>
              <a:gd name="connsiteX6" fmla="*/ 5751455 w 12192000"/>
              <a:gd name="connsiteY6" fmla="*/ 0 h 6858000"/>
              <a:gd name="connsiteX7" fmla="*/ 6022671 w 12192000"/>
              <a:gd name="connsiteY7" fmla="*/ 0 h 6858000"/>
              <a:gd name="connsiteX8" fmla="*/ 6273034 w 12192000"/>
              <a:gd name="connsiteY8" fmla="*/ 0 h 6858000"/>
              <a:gd name="connsiteX9" fmla="*/ 6503379 w 12192000"/>
              <a:gd name="connsiteY9" fmla="*/ 0 h 6858000"/>
              <a:gd name="connsiteX10" fmla="*/ 6714541 w 12192000"/>
              <a:gd name="connsiteY10" fmla="*/ 0 h 6858000"/>
              <a:gd name="connsiteX11" fmla="*/ 6907352 w 12192000"/>
              <a:gd name="connsiteY11" fmla="*/ 0 h 6858000"/>
              <a:gd name="connsiteX12" fmla="*/ 7082648 w 12192000"/>
              <a:gd name="connsiteY12" fmla="*/ 0 h 6858000"/>
              <a:gd name="connsiteX13" fmla="*/ 7241262 w 12192000"/>
              <a:gd name="connsiteY13" fmla="*/ 0 h 6858000"/>
              <a:gd name="connsiteX14" fmla="*/ 7384029 w 12192000"/>
              <a:gd name="connsiteY14" fmla="*/ 0 h 6858000"/>
              <a:gd name="connsiteX15" fmla="*/ 7511783 w 12192000"/>
              <a:gd name="connsiteY15" fmla="*/ 0 h 6858000"/>
              <a:gd name="connsiteX16" fmla="*/ 7625357 w 12192000"/>
              <a:gd name="connsiteY16" fmla="*/ 0 h 6858000"/>
              <a:gd name="connsiteX17" fmla="*/ 7725585 w 12192000"/>
              <a:gd name="connsiteY17" fmla="*/ 0 h 6858000"/>
              <a:gd name="connsiteX18" fmla="*/ 7813303 w 12192000"/>
              <a:gd name="connsiteY18" fmla="*/ 0 h 6858000"/>
              <a:gd name="connsiteX19" fmla="*/ 7954540 w 12192000"/>
              <a:gd name="connsiteY19" fmla="*/ 0 h 6858000"/>
              <a:gd name="connsiteX20" fmla="*/ 8055742 w 12192000"/>
              <a:gd name="connsiteY20" fmla="*/ 0 h 6858000"/>
              <a:gd name="connsiteX21" fmla="*/ 8123581 w 12192000"/>
              <a:gd name="connsiteY21" fmla="*/ 0 h 6858000"/>
              <a:gd name="connsiteX22" fmla="*/ 8164729 w 12192000"/>
              <a:gd name="connsiteY22" fmla="*/ 0 h 6858000"/>
              <a:gd name="connsiteX23" fmla="*/ 8185859 w 12192000"/>
              <a:gd name="connsiteY23" fmla="*/ 0 h 6858000"/>
              <a:gd name="connsiteX24" fmla="*/ 8193644 w 12192000"/>
              <a:gd name="connsiteY24" fmla="*/ 0 h 6858000"/>
              <a:gd name="connsiteX25" fmla="*/ 8194756 w 12192000"/>
              <a:gd name="connsiteY25" fmla="*/ 0 h 6858000"/>
              <a:gd name="connsiteX26" fmla="*/ 8412720 w 12192000"/>
              <a:gd name="connsiteY26" fmla="*/ 0 h 6858000"/>
              <a:gd name="connsiteX27" fmla="*/ 8617067 w 12192000"/>
              <a:gd name="connsiteY27" fmla="*/ 0 h 6858000"/>
              <a:gd name="connsiteX28" fmla="*/ 8808235 w 12192000"/>
              <a:gd name="connsiteY28" fmla="*/ 0 h 6858000"/>
              <a:gd name="connsiteX29" fmla="*/ 8986664 w 12192000"/>
              <a:gd name="connsiteY29" fmla="*/ 0 h 6858000"/>
              <a:gd name="connsiteX30" fmla="*/ 9307058 w 12192000"/>
              <a:gd name="connsiteY30" fmla="*/ 0 h 6858000"/>
              <a:gd name="connsiteX31" fmla="*/ 9581766 w 12192000"/>
              <a:gd name="connsiteY31" fmla="*/ 0 h 6858000"/>
              <a:gd name="connsiteX32" fmla="*/ 9814301 w 12192000"/>
              <a:gd name="connsiteY32" fmla="*/ 0 h 6858000"/>
              <a:gd name="connsiteX33" fmla="*/ 10008178 w 12192000"/>
              <a:gd name="connsiteY33" fmla="*/ 0 h 6858000"/>
              <a:gd name="connsiteX34" fmla="*/ 10166911 w 12192000"/>
              <a:gd name="connsiteY34" fmla="*/ 0 h 6858000"/>
              <a:gd name="connsiteX35" fmla="*/ 10294015 w 12192000"/>
              <a:gd name="connsiteY35" fmla="*/ 0 h 6858000"/>
              <a:gd name="connsiteX36" fmla="*/ 10393003 w 12192000"/>
              <a:gd name="connsiteY36" fmla="*/ 0 h 6858000"/>
              <a:gd name="connsiteX37" fmla="*/ 10467391 w 12192000"/>
              <a:gd name="connsiteY37" fmla="*/ 0 h 6858000"/>
              <a:gd name="connsiteX38" fmla="*/ 10520693 w 12192000"/>
              <a:gd name="connsiteY38" fmla="*/ 0 h 6858000"/>
              <a:gd name="connsiteX39" fmla="*/ 10556422 w 12192000"/>
              <a:gd name="connsiteY39" fmla="*/ 0 h 6858000"/>
              <a:gd name="connsiteX40" fmla="*/ 10578094 w 12192000"/>
              <a:gd name="connsiteY40" fmla="*/ 0 h 6858000"/>
              <a:gd name="connsiteX41" fmla="*/ 10589223 w 12192000"/>
              <a:gd name="connsiteY41" fmla="*/ 0 h 6858000"/>
              <a:gd name="connsiteX42" fmla="*/ 10593909 w 12192000"/>
              <a:gd name="connsiteY42" fmla="*/ 0 h 6858000"/>
              <a:gd name="connsiteX43" fmla="*/ 10964417 w 12192000"/>
              <a:gd name="connsiteY43" fmla="*/ 0 h 6858000"/>
              <a:gd name="connsiteX44" fmla="*/ 11288676 w 12192000"/>
              <a:gd name="connsiteY44" fmla="*/ 0 h 6858000"/>
              <a:gd name="connsiteX45" fmla="*/ 11569769 w 12192000"/>
              <a:gd name="connsiteY45" fmla="*/ 0 h 6858000"/>
              <a:gd name="connsiteX46" fmla="*/ 11810779 w 12192000"/>
              <a:gd name="connsiteY46" fmla="*/ 0 h 6858000"/>
              <a:gd name="connsiteX47" fmla="*/ 12014790 w 12192000"/>
              <a:gd name="connsiteY47" fmla="*/ 0 h 6858000"/>
              <a:gd name="connsiteX48" fmla="*/ 12184885 w 12192000"/>
              <a:gd name="connsiteY48" fmla="*/ 0 h 6858000"/>
              <a:gd name="connsiteX49" fmla="*/ 12192000 w 12192000"/>
              <a:gd name="connsiteY49" fmla="*/ 0 h 6858000"/>
              <a:gd name="connsiteX50" fmla="*/ 12192000 w 12192000"/>
              <a:gd name="connsiteY50" fmla="*/ 6858000 h 6858000"/>
              <a:gd name="connsiteX51" fmla="*/ 8661018 w 12192000"/>
              <a:gd name="connsiteY51" fmla="*/ 6858000 h 6858000"/>
              <a:gd name="connsiteX52" fmla="*/ 8618886 w 12192000"/>
              <a:gd name="connsiteY52" fmla="*/ 6845587 h 6858000"/>
              <a:gd name="connsiteX53" fmla="*/ 6524945 w 12192000"/>
              <a:gd name="connsiteY53" fmla="*/ 6228674 h 6858000"/>
              <a:gd name="connsiteX54" fmla="*/ 5610068 w 12192000"/>
              <a:gd name="connsiteY54" fmla="*/ 5959811 h 6858000"/>
              <a:gd name="connsiteX55" fmla="*/ 4810350 w 12192000"/>
              <a:gd name="connsiteY55" fmla="*/ 5102008 h 6858000"/>
              <a:gd name="connsiteX56" fmla="*/ 4151383 w 12192000"/>
              <a:gd name="connsiteY56" fmla="*/ 2067690 h 6858000"/>
              <a:gd name="connsiteX57" fmla="*/ 3418841 w 12192000"/>
              <a:gd name="connsiteY57" fmla="*/ 1747614 h 6858000"/>
              <a:gd name="connsiteX58" fmla="*/ 1253205 w 12192000"/>
              <a:gd name="connsiteY58" fmla="*/ 3034318 h 6858000"/>
              <a:gd name="connsiteX59" fmla="*/ 1003694 w 12192000"/>
              <a:gd name="connsiteY59" fmla="*/ 3181553 h 6858000"/>
              <a:gd name="connsiteX60" fmla="*/ 498272 w 12192000"/>
              <a:gd name="connsiteY60" fmla="*/ 4205796 h 6858000"/>
              <a:gd name="connsiteX61" fmla="*/ 703000 w 12192000"/>
              <a:gd name="connsiteY61" fmla="*/ 5895796 h 6858000"/>
              <a:gd name="connsiteX62" fmla="*/ 811779 w 12192000"/>
              <a:gd name="connsiteY62" fmla="*/ 6789988 h 6858000"/>
              <a:gd name="connsiteX63" fmla="*/ 820053 w 12192000"/>
              <a:gd name="connsiteY63" fmla="*/ 6858000 h 6858000"/>
              <a:gd name="connsiteX64" fmla="*/ 0 w 12192000"/>
              <a:gd name="connsiteY64" fmla="*/ 6858000 h 6858000"/>
              <a:gd name="connsiteX65" fmla="*/ 0 w 12192000"/>
              <a:gd name="connsiteY65" fmla="*/ 1386925 h 6858000"/>
              <a:gd name="connsiteX66" fmla="*/ 8776 w 12192000"/>
              <a:gd name="connsiteY66" fmla="*/ 1442892 h 6858000"/>
              <a:gd name="connsiteX67" fmla="*/ 171987 w 12192000"/>
              <a:gd name="connsiteY67" fmla="*/ 2483788 h 6858000"/>
              <a:gd name="connsiteX68" fmla="*/ 194379 w 12192000"/>
              <a:gd name="connsiteY68" fmla="*/ 2576610 h 6858000"/>
              <a:gd name="connsiteX69" fmla="*/ 866142 w 12192000"/>
              <a:gd name="connsiteY69" fmla="*/ 2813466 h 6858000"/>
              <a:gd name="connsiteX70" fmla="*/ 1246808 w 12192000"/>
              <a:gd name="connsiteY70" fmla="*/ 2589413 h 6858000"/>
              <a:gd name="connsiteX71" fmla="*/ 3242903 w 12192000"/>
              <a:gd name="connsiteY71" fmla="*/ 1414735 h 6858000"/>
              <a:gd name="connsiteX72" fmla="*/ 3706740 w 12192000"/>
              <a:gd name="connsiteY72" fmla="*/ 707368 h 6858000"/>
              <a:gd name="connsiteX73" fmla="*/ 3709938 w 12192000"/>
              <a:gd name="connsiteY73" fmla="*/ 400095 h 6858000"/>
              <a:gd name="connsiteX74" fmla="*/ 3639563 w 12192000"/>
              <a:gd name="connsiteY74"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12192000" h="6858000">
                <a:moveTo>
                  <a:pt x="3639563" y="0"/>
                </a:moveTo>
                <a:lnTo>
                  <a:pt x="4053406" y="0"/>
                </a:lnTo>
                <a:lnTo>
                  <a:pt x="4441393" y="0"/>
                </a:lnTo>
                <a:lnTo>
                  <a:pt x="4804357" y="0"/>
                </a:lnTo>
                <a:lnTo>
                  <a:pt x="5143133" y="0"/>
                </a:lnTo>
                <a:lnTo>
                  <a:pt x="5458554" y="0"/>
                </a:lnTo>
                <a:lnTo>
                  <a:pt x="5751455" y="0"/>
                </a:lnTo>
                <a:lnTo>
                  <a:pt x="6022671" y="0"/>
                </a:lnTo>
                <a:lnTo>
                  <a:pt x="6273034" y="0"/>
                </a:lnTo>
                <a:lnTo>
                  <a:pt x="6503379" y="0"/>
                </a:lnTo>
                <a:lnTo>
                  <a:pt x="6714541" y="0"/>
                </a:lnTo>
                <a:lnTo>
                  <a:pt x="6907352" y="0"/>
                </a:lnTo>
                <a:lnTo>
                  <a:pt x="7082648" y="0"/>
                </a:lnTo>
                <a:lnTo>
                  <a:pt x="7241262" y="0"/>
                </a:lnTo>
                <a:lnTo>
                  <a:pt x="7384029" y="0"/>
                </a:lnTo>
                <a:lnTo>
                  <a:pt x="7511783" y="0"/>
                </a:lnTo>
                <a:lnTo>
                  <a:pt x="7625357" y="0"/>
                </a:lnTo>
                <a:lnTo>
                  <a:pt x="7725585" y="0"/>
                </a:lnTo>
                <a:lnTo>
                  <a:pt x="7813303" y="0"/>
                </a:lnTo>
                <a:lnTo>
                  <a:pt x="7954540" y="0"/>
                </a:lnTo>
                <a:lnTo>
                  <a:pt x="8055742" y="0"/>
                </a:lnTo>
                <a:lnTo>
                  <a:pt x="8123581" y="0"/>
                </a:lnTo>
                <a:lnTo>
                  <a:pt x="8164729" y="0"/>
                </a:lnTo>
                <a:lnTo>
                  <a:pt x="8185859" y="0"/>
                </a:lnTo>
                <a:lnTo>
                  <a:pt x="8193644" y="0"/>
                </a:lnTo>
                <a:lnTo>
                  <a:pt x="8194756" y="0"/>
                </a:lnTo>
                <a:lnTo>
                  <a:pt x="8412720" y="0"/>
                </a:lnTo>
                <a:lnTo>
                  <a:pt x="8617067" y="0"/>
                </a:lnTo>
                <a:lnTo>
                  <a:pt x="8808235" y="0"/>
                </a:lnTo>
                <a:lnTo>
                  <a:pt x="8986664" y="0"/>
                </a:lnTo>
                <a:lnTo>
                  <a:pt x="9307058" y="0"/>
                </a:lnTo>
                <a:lnTo>
                  <a:pt x="9581766" y="0"/>
                </a:lnTo>
                <a:lnTo>
                  <a:pt x="9814301" y="0"/>
                </a:lnTo>
                <a:lnTo>
                  <a:pt x="10008178" y="0"/>
                </a:lnTo>
                <a:lnTo>
                  <a:pt x="10166911" y="0"/>
                </a:lnTo>
                <a:lnTo>
                  <a:pt x="10294015" y="0"/>
                </a:lnTo>
                <a:lnTo>
                  <a:pt x="10393003" y="0"/>
                </a:lnTo>
                <a:lnTo>
                  <a:pt x="10467391" y="0"/>
                </a:lnTo>
                <a:lnTo>
                  <a:pt x="10520693" y="0"/>
                </a:lnTo>
                <a:lnTo>
                  <a:pt x="10556422" y="0"/>
                </a:lnTo>
                <a:lnTo>
                  <a:pt x="10578094" y="0"/>
                </a:lnTo>
                <a:lnTo>
                  <a:pt x="10589223" y="0"/>
                </a:lnTo>
                <a:lnTo>
                  <a:pt x="10593909" y="0"/>
                </a:lnTo>
                <a:lnTo>
                  <a:pt x="10964417" y="0"/>
                </a:lnTo>
                <a:lnTo>
                  <a:pt x="11288676" y="0"/>
                </a:lnTo>
                <a:lnTo>
                  <a:pt x="11569769" y="0"/>
                </a:lnTo>
                <a:lnTo>
                  <a:pt x="11810779" y="0"/>
                </a:lnTo>
                <a:lnTo>
                  <a:pt x="12014790" y="0"/>
                </a:lnTo>
                <a:lnTo>
                  <a:pt x="12184885" y="0"/>
                </a:lnTo>
                <a:lnTo>
                  <a:pt x="12192000" y="0"/>
                </a:lnTo>
                <a:lnTo>
                  <a:pt x="12192000" y="6858000"/>
                </a:lnTo>
                <a:lnTo>
                  <a:pt x="8661018" y="6858000"/>
                </a:lnTo>
                <a:lnTo>
                  <a:pt x="8618886" y="6845587"/>
                </a:lnTo>
                <a:cubicBezTo>
                  <a:pt x="6524945" y="6228674"/>
                  <a:pt x="6524945" y="6228674"/>
                  <a:pt x="6524945" y="6228674"/>
                </a:cubicBezTo>
                <a:cubicBezTo>
                  <a:pt x="5610068" y="5959811"/>
                  <a:pt x="5610068" y="5959811"/>
                  <a:pt x="5610068" y="5959811"/>
                </a:cubicBezTo>
                <a:cubicBezTo>
                  <a:pt x="5251795" y="5850985"/>
                  <a:pt x="4890323" y="5466894"/>
                  <a:pt x="4810350" y="5102008"/>
                </a:cubicBezTo>
                <a:cubicBezTo>
                  <a:pt x="4151383" y="2067690"/>
                  <a:pt x="4151383" y="2067690"/>
                  <a:pt x="4151383" y="2067690"/>
                </a:cubicBezTo>
                <a:cubicBezTo>
                  <a:pt x="4071411" y="1699602"/>
                  <a:pt x="3741927" y="1558769"/>
                  <a:pt x="3418841" y="1747614"/>
                </a:cubicBezTo>
                <a:cubicBezTo>
                  <a:pt x="1253205" y="3034318"/>
                  <a:pt x="1253205" y="3034318"/>
                  <a:pt x="1253205" y="3034318"/>
                </a:cubicBezTo>
                <a:cubicBezTo>
                  <a:pt x="1003694" y="3181553"/>
                  <a:pt x="1003694" y="3181553"/>
                  <a:pt x="1003694" y="3181553"/>
                </a:cubicBezTo>
                <a:cubicBezTo>
                  <a:pt x="680608" y="3373599"/>
                  <a:pt x="453488" y="3831307"/>
                  <a:pt x="498272" y="4205796"/>
                </a:cubicBezTo>
                <a:cubicBezTo>
                  <a:pt x="703000" y="5895796"/>
                  <a:pt x="703000" y="5895796"/>
                  <a:pt x="703000" y="5895796"/>
                </a:cubicBezTo>
                <a:cubicBezTo>
                  <a:pt x="748484" y="6269684"/>
                  <a:pt x="784018" y="6561785"/>
                  <a:pt x="811779" y="6789988"/>
                </a:cubicBezTo>
                <a:lnTo>
                  <a:pt x="820053" y="6858000"/>
                </a:lnTo>
                <a:lnTo>
                  <a:pt x="0" y="6858000"/>
                </a:lnTo>
                <a:lnTo>
                  <a:pt x="0" y="1386925"/>
                </a:lnTo>
                <a:lnTo>
                  <a:pt x="8776" y="1442892"/>
                </a:lnTo>
                <a:cubicBezTo>
                  <a:pt x="171987" y="2483788"/>
                  <a:pt x="171987" y="2483788"/>
                  <a:pt x="171987" y="2483788"/>
                </a:cubicBezTo>
                <a:cubicBezTo>
                  <a:pt x="178385" y="2515796"/>
                  <a:pt x="184783" y="2547803"/>
                  <a:pt x="194379" y="2576610"/>
                </a:cubicBezTo>
                <a:cubicBezTo>
                  <a:pt x="287146" y="2877481"/>
                  <a:pt x="571846" y="2986307"/>
                  <a:pt x="866142" y="2813466"/>
                </a:cubicBezTo>
                <a:cubicBezTo>
                  <a:pt x="1246808" y="2589413"/>
                  <a:pt x="1246808" y="2589413"/>
                  <a:pt x="1246808" y="2589413"/>
                </a:cubicBezTo>
                <a:cubicBezTo>
                  <a:pt x="3242903" y="1414735"/>
                  <a:pt x="3242903" y="1414735"/>
                  <a:pt x="3242903" y="1414735"/>
                </a:cubicBezTo>
                <a:cubicBezTo>
                  <a:pt x="3479620" y="1277102"/>
                  <a:pt x="3655558" y="992235"/>
                  <a:pt x="3706740" y="707368"/>
                </a:cubicBezTo>
                <a:cubicBezTo>
                  <a:pt x="3725933" y="601743"/>
                  <a:pt x="3729132" y="499318"/>
                  <a:pt x="3709938" y="400095"/>
                </a:cubicBezTo>
                <a:cubicBezTo>
                  <a:pt x="3639563" y="0"/>
                  <a:pt x="3639563" y="0"/>
                  <a:pt x="3639563" y="0"/>
                </a:cubicBez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grpSp>
        <p:nvGrpSpPr>
          <p:cNvPr id="18" name="Group 17"/>
          <p:cNvGrpSpPr>
            <a:grpSpLocks noChangeAspect="1"/>
          </p:cNvGrpSpPr>
          <p:nvPr userDrawn="1">
            <p:custDataLst>
              <p:tags r:id="rId2"/>
            </p:custDataLst>
          </p:nvPr>
        </p:nvGrpSpPr>
        <p:grpSpPr bwMode="gray">
          <a:xfrm>
            <a:off x="10539522" y="6440320"/>
            <a:ext cx="1028592" cy="162000"/>
            <a:chOff x="-4548188" y="3063875"/>
            <a:chExt cx="2741613" cy="431800"/>
          </a:xfrm>
          <a:solidFill>
            <a:schemeClr val="accent5"/>
          </a:solidFill>
        </p:grpSpPr>
        <p:sp>
          <p:nvSpPr>
            <p:cNvPr id="19" name="Freeform 9"/>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3"/>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0"/>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1"/>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2"/>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Text Placeholder 16"/>
          <p:cNvSpPr>
            <a:spLocks noGrp="1"/>
          </p:cNvSpPr>
          <p:nvPr>
            <p:ph type="body" sz="quarter" idx="13" hasCustomPrompt="1"/>
          </p:nvPr>
        </p:nvSpPr>
        <p:spPr bwMode="gray">
          <a:xfrm>
            <a:off x="6001475" y="1799192"/>
            <a:ext cx="1006525" cy="648325"/>
          </a:xfrm>
          <a:prstGeom prst="rect">
            <a:avLst/>
          </a:prstGeom>
        </p:spPr>
        <p:txBody>
          <a:bodyPr wrap="none"/>
          <a:lstStyle>
            <a:lvl1pPr marL="0" indent="0">
              <a:buFont typeface="Arial" panose="020B0604020202020204" pitchFamily="34" charset="0"/>
              <a:buNone/>
              <a:defRPr sz="4800" b="0">
                <a:ln>
                  <a:solidFill>
                    <a:srgbClr val="EB3C96"/>
                  </a:solidFill>
                </a:ln>
                <a:noFill/>
                <a:latin typeface="Merck" panose="04040805020F02020302" pitchFamily="82" charset="0"/>
              </a:defRPr>
            </a:lvl1pPr>
            <a:lvl2pPr marL="0" indent="0">
              <a:spcBef>
                <a:spcPts val="600"/>
              </a:spcBef>
              <a:buFont typeface="Arial" panose="020B0604020202020204" pitchFamily="34" charset="0"/>
              <a:buNone/>
              <a:defRPr sz="4800" b="0">
                <a:ln>
                  <a:solidFill>
                    <a:srgbClr val="EB3C96"/>
                  </a:solidFill>
                </a:ln>
                <a:noFill/>
                <a:latin typeface="Merck" panose="04040805020F02020302" pitchFamily="82" charset="0"/>
              </a:defRPr>
            </a:lvl2pPr>
            <a:lvl3pPr marL="0" indent="0">
              <a:spcBef>
                <a:spcPts val="600"/>
              </a:spcBef>
              <a:buNone/>
              <a:defRPr sz="4800" b="0">
                <a:ln>
                  <a:solidFill>
                    <a:srgbClr val="EB3C96"/>
                  </a:solidFill>
                </a:ln>
                <a:noFill/>
                <a:latin typeface="Merck" panose="04040805020F02020302" pitchFamily="82" charset="0"/>
              </a:defRPr>
            </a:lvl3pPr>
            <a:lvl4pPr marL="0" indent="0">
              <a:spcBef>
                <a:spcPts val="600"/>
              </a:spcBef>
              <a:buNone/>
              <a:defRPr sz="4800" b="0">
                <a:ln>
                  <a:solidFill>
                    <a:srgbClr val="EB3C96"/>
                  </a:solidFill>
                </a:ln>
                <a:noFill/>
                <a:latin typeface="Merck" panose="04040805020F02020302" pitchFamily="82" charset="0"/>
              </a:defRPr>
            </a:lvl4pPr>
            <a:lvl5pPr marL="0" indent="0">
              <a:spcBef>
                <a:spcPts val="600"/>
              </a:spcBef>
              <a:buNone/>
              <a:defRPr sz="4800" b="0">
                <a:ln>
                  <a:solidFill>
                    <a:srgbClr val="EB3C96"/>
                  </a:solidFill>
                </a:ln>
                <a:noFill/>
                <a:latin typeface="Merck" panose="04040805020F02020302" pitchFamily="82" charset="0"/>
              </a:defRPr>
            </a:lvl5pPr>
            <a:lvl6pPr marL="0" indent="0">
              <a:spcBef>
                <a:spcPts val="600"/>
              </a:spcBef>
              <a:buNone/>
              <a:defRPr sz="4800" b="0">
                <a:ln>
                  <a:solidFill>
                    <a:srgbClr val="EB3C96"/>
                  </a:solidFill>
                </a:ln>
                <a:noFill/>
                <a:latin typeface="Merck" panose="04040805020F02020302" pitchFamily="82" charset="0"/>
              </a:defRPr>
            </a:lvl6pPr>
            <a:lvl7pPr marL="0" indent="0">
              <a:spcBef>
                <a:spcPts val="600"/>
              </a:spcBef>
              <a:buNone/>
              <a:defRPr sz="4800" b="0">
                <a:ln>
                  <a:solidFill>
                    <a:srgbClr val="EB3C96"/>
                  </a:solidFill>
                </a:ln>
                <a:noFill/>
                <a:latin typeface="Merck" panose="04040805020F02020302" pitchFamily="82" charset="0"/>
              </a:defRPr>
            </a:lvl7pPr>
            <a:lvl8pPr marL="0" indent="0">
              <a:spcBef>
                <a:spcPts val="600"/>
              </a:spcBef>
              <a:buNone/>
              <a:defRPr sz="4800" b="0">
                <a:ln>
                  <a:solidFill>
                    <a:srgbClr val="EB3C96"/>
                  </a:solidFill>
                </a:ln>
                <a:noFill/>
                <a:latin typeface="Merck" panose="04040805020F02020302" pitchFamily="82" charset="0"/>
              </a:defRPr>
            </a:lvl8pPr>
            <a:lvl9pPr marL="0" indent="0">
              <a:spcBef>
                <a:spcPts val="600"/>
              </a:spcBef>
              <a:buNone/>
              <a:defRPr sz="4800" b="0">
                <a:ln>
                  <a:solidFill>
                    <a:srgbClr val="EB3C96"/>
                  </a:solidFill>
                </a:ln>
                <a:noFill/>
                <a:latin typeface="Merck" panose="04040805020F02020302" pitchFamily="82" charset="0"/>
              </a:defRPr>
            </a:lvl9pPr>
          </a:lstStyle>
          <a:p>
            <a:pPr lvl="0"/>
            <a:r>
              <a:rPr lang="en-US" noProof="0"/>
              <a:t>00</a:t>
            </a:r>
            <a:endParaRPr lang="en-US"/>
          </a:p>
          <a:p>
            <a:pPr lvl="0"/>
            <a:endParaRPr lang="en-US"/>
          </a:p>
          <a:p>
            <a:pPr lvl="0"/>
            <a:endParaRPr lang="en-US" noProof="0"/>
          </a:p>
        </p:txBody>
      </p:sp>
      <p:sp>
        <p:nvSpPr>
          <p:cNvPr id="13" name="Title 1"/>
          <p:cNvSpPr>
            <a:spLocks noGrp="1"/>
          </p:cNvSpPr>
          <p:nvPr>
            <p:ph type="title" hasCustomPrompt="1"/>
          </p:nvPr>
        </p:nvSpPr>
        <p:spPr bwMode="gray">
          <a:xfrm>
            <a:off x="7176119" y="1879992"/>
            <a:ext cx="4657508" cy="1734697"/>
          </a:xfrm>
          <a:prstGeom prst="rect">
            <a:avLst/>
          </a:prstGeom>
          <a:noFill/>
        </p:spPr>
        <p:txBody>
          <a:bodyPr tIns="72000" bIns="0" anchor="t" anchorCtr="0"/>
          <a:lstStyle>
            <a:lvl1pPr>
              <a:lnSpc>
                <a:spcPct val="100000"/>
              </a:lnSpc>
              <a:defRPr sz="3600" cap="none" baseline="0">
                <a:latin typeface="Merck" panose="04040805020F02020302" pitchFamily="82" charset="0"/>
              </a:defRPr>
            </a:lvl1pPr>
          </a:lstStyle>
          <a:p>
            <a:pPr lvl="0"/>
            <a:r>
              <a:rPr lang="en-US" noProof="0"/>
              <a:t>Chapter name </a:t>
            </a:r>
            <a:br>
              <a:rPr lang="en-US" noProof="0"/>
            </a:br>
            <a:r>
              <a:rPr lang="en-US" noProof="0"/>
              <a:t>in two lines</a:t>
            </a:r>
          </a:p>
        </p:txBody>
      </p:sp>
    </p:spTree>
    <p:extLst>
      <p:ext uri="{BB962C8B-B14F-4D97-AF65-F5344CB8AC3E}">
        <p14:creationId xmlns:p14="http://schemas.microsoft.com/office/powerpoint/2010/main" val="7924499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Organic">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ctangle 13"/>
          <p:cNvSpPr/>
          <p:nvPr userDrawn="1"/>
        </p:nvSpPr>
        <p:spPr bwMode="gray">
          <a:xfrm>
            <a:off x="1" y="0"/>
            <a:ext cx="12192000" cy="6858001"/>
          </a:xfrm>
          <a:prstGeom prst="rect">
            <a:avLst/>
          </a:prstGeom>
          <a:solidFill>
            <a:schemeClr val="bg2"/>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17" name="Freeform 16"/>
          <p:cNvSpPr/>
          <p:nvPr userDrawn="1"/>
        </p:nvSpPr>
        <p:spPr bwMode="gray">
          <a:xfrm>
            <a:off x="0" y="0"/>
            <a:ext cx="12192000" cy="6858000"/>
          </a:xfrm>
          <a:custGeom>
            <a:avLst/>
            <a:gdLst>
              <a:gd name="connsiteX0" fmla="*/ 1048909 w 12192000"/>
              <a:gd name="connsiteY0" fmla="*/ 0 h 6858000"/>
              <a:gd name="connsiteX1" fmla="*/ 1437815 w 12192000"/>
              <a:gd name="connsiteY1" fmla="*/ 0 h 6858000"/>
              <a:gd name="connsiteX2" fmla="*/ 1416616 w 12192000"/>
              <a:gd name="connsiteY2" fmla="*/ 63049 h 6858000"/>
              <a:gd name="connsiteX3" fmla="*/ 2816130 w 12192000"/>
              <a:gd name="connsiteY3" fmla="*/ 4208716 h 6858000"/>
              <a:gd name="connsiteX4" fmla="*/ 7652880 w 12192000"/>
              <a:gd name="connsiteY4" fmla="*/ 1881693 h 6858000"/>
              <a:gd name="connsiteX5" fmla="*/ 7686890 w 12192000"/>
              <a:gd name="connsiteY5" fmla="*/ 260273 h 6858000"/>
              <a:gd name="connsiteX6" fmla="*/ 7621110 w 12192000"/>
              <a:gd name="connsiteY6" fmla="*/ 0 h 6858000"/>
              <a:gd name="connsiteX7" fmla="*/ 8544177 w 12192000"/>
              <a:gd name="connsiteY7" fmla="*/ 0 h 6858000"/>
              <a:gd name="connsiteX8" fmla="*/ 8534881 w 12192000"/>
              <a:gd name="connsiteY8" fmla="*/ 27654 h 6858000"/>
              <a:gd name="connsiteX9" fmla="*/ 8868237 w 12192000"/>
              <a:gd name="connsiteY9" fmla="*/ 2461905 h 6858000"/>
              <a:gd name="connsiteX10" fmla="*/ 12032141 w 12192000"/>
              <a:gd name="connsiteY10" fmla="*/ 2639688 h 6858000"/>
              <a:gd name="connsiteX11" fmla="*/ 12192000 w 12192000"/>
              <a:gd name="connsiteY11" fmla="*/ 2566729 h 6858000"/>
              <a:gd name="connsiteX12" fmla="*/ 12192000 w 12192000"/>
              <a:gd name="connsiteY12" fmla="*/ 5274395 h 6858000"/>
              <a:gd name="connsiteX13" fmla="*/ 12109445 w 12192000"/>
              <a:gd name="connsiteY13" fmla="*/ 5202936 h 6858000"/>
              <a:gd name="connsiteX14" fmla="*/ 8843559 w 12192000"/>
              <a:gd name="connsiteY14" fmla="*/ 3187171 h 6858000"/>
              <a:gd name="connsiteX15" fmla="*/ 6548571 w 12192000"/>
              <a:gd name="connsiteY15" fmla="*/ 5362969 h 6858000"/>
              <a:gd name="connsiteX16" fmla="*/ 7312459 w 12192000"/>
              <a:gd name="connsiteY16" fmla="*/ 6747870 h 6858000"/>
              <a:gd name="connsiteX17" fmla="*/ 7402349 w 12192000"/>
              <a:gd name="connsiteY17" fmla="*/ 6858000 h 6858000"/>
              <a:gd name="connsiteX18" fmla="*/ 6793220 w 12192000"/>
              <a:gd name="connsiteY18" fmla="*/ 6858000 h 6858000"/>
              <a:gd name="connsiteX19" fmla="*/ 6780454 w 12192000"/>
              <a:gd name="connsiteY19" fmla="*/ 6849222 h 6858000"/>
              <a:gd name="connsiteX20" fmla="*/ 4262283 w 12192000"/>
              <a:gd name="connsiteY20" fmla="*/ 6852446 h 6858000"/>
              <a:gd name="connsiteX21" fmla="*/ 4251244 w 12192000"/>
              <a:gd name="connsiteY21" fmla="*/ 6858000 h 6858000"/>
              <a:gd name="connsiteX22" fmla="*/ 1584781 w 12192000"/>
              <a:gd name="connsiteY22" fmla="*/ 6858000 h 6858000"/>
              <a:gd name="connsiteX23" fmla="*/ 1548685 w 12192000"/>
              <a:gd name="connsiteY23" fmla="*/ 6742445 h 6858000"/>
              <a:gd name="connsiteX24" fmla="*/ 193301 w 12192000"/>
              <a:gd name="connsiteY24" fmla="*/ 4363992 h 6858000"/>
              <a:gd name="connsiteX25" fmla="*/ 0 w 12192000"/>
              <a:gd name="connsiteY25" fmla="*/ 4101454 h 6858000"/>
              <a:gd name="connsiteX26" fmla="*/ 0 w 12192000"/>
              <a:gd name="connsiteY26" fmla="*/ 1829578 h 6858000"/>
              <a:gd name="connsiteX27" fmla="*/ 44396 w 12192000"/>
              <a:gd name="connsiteY27" fmla="*/ 1812744 h 6858000"/>
              <a:gd name="connsiteX28" fmla="*/ 1036786 w 12192000"/>
              <a:gd name="connsiteY28" fmla="*/ 4791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192000" h="6858000">
                <a:moveTo>
                  <a:pt x="1048909" y="0"/>
                </a:moveTo>
                <a:lnTo>
                  <a:pt x="1437815" y="0"/>
                </a:lnTo>
                <a:lnTo>
                  <a:pt x="1416616" y="63049"/>
                </a:lnTo>
                <a:cubicBezTo>
                  <a:pt x="992565" y="1544377"/>
                  <a:pt x="1463892" y="3409380"/>
                  <a:pt x="2816130" y="4208716"/>
                </a:cubicBezTo>
                <a:cubicBezTo>
                  <a:pt x="5009325" y="5504936"/>
                  <a:pt x="7251874" y="4378459"/>
                  <a:pt x="7652880" y="1881693"/>
                </a:cubicBezTo>
                <a:cubicBezTo>
                  <a:pt x="7782051" y="1285663"/>
                  <a:pt x="7787111" y="748706"/>
                  <a:pt x="7686890" y="260273"/>
                </a:cubicBezTo>
                <a:lnTo>
                  <a:pt x="7621110" y="0"/>
                </a:lnTo>
                <a:lnTo>
                  <a:pt x="8544177" y="0"/>
                </a:lnTo>
                <a:lnTo>
                  <a:pt x="8534881" y="27654"/>
                </a:lnTo>
                <a:cubicBezTo>
                  <a:pt x="8264692" y="917087"/>
                  <a:pt x="8339410" y="1890180"/>
                  <a:pt x="8868237" y="2461905"/>
                </a:cubicBezTo>
                <a:cubicBezTo>
                  <a:pt x="9562479" y="3216683"/>
                  <a:pt x="11087554" y="3034258"/>
                  <a:pt x="12032141" y="2639688"/>
                </a:cubicBezTo>
                <a:lnTo>
                  <a:pt x="12192000" y="2566729"/>
                </a:lnTo>
                <a:lnTo>
                  <a:pt x="12192000" y="5274395"/>
                </a:lnTo>
                <a:lnTo>
                  <a:pt x="12109445" y="5202936"/>
                </a:lnTo>
                <a:cubicBezTo>
                  <a:pt x="11001136" y="4281532"/>
                  <a:pt x="9774742" y="3519327"/>
                  <a:pt x="8843559" y="3187171"/>
                </a:cubicBezTo>
                <a:cubicBezTo>
                  <a:pt x="8013786" y="2893979"/>
                  <a:pt x="6434439" y="4418580"/>
                  <a:pt x="6548571" y="5362969"/>
                </a:cubicBezTo>
                <a:cubicBezTo>
                  <a:pt x="6624917" y="6006449"/>
                  <a:pt x="6909477" y="6262800"/>
                  <a:pt x="7312459" y="6747870"/>
                </a:cubicBezTo>
                <a:lnTo>
                  <a:pt x="7402349" y="6858000"/>
                </a:lnTo>
                <a:lnTo>
                  <a:pt x="6793220" y="6858000"/>
                </a:lnTo>
                <a:lnTo>
                  <a:pt x="6780454" y="6849222"/>
                </a:lnTo>
                <a:cubicBezTo>
                  <a:pt x="6043609" y="6404533"/>
                  <a:pt x="5082598" y="6474138"/>
                  <a:pt x="4262283" y="6852446"/>
                </a:cubicBezTo>
                <a:lnTo>
                  <a:pt x="4251244" y="6858000"/>
                </a:lnTo>
                <a:lnTo>
                  <a:pt x="1584781" y="6858000"/>
                </a:lnTo>
                <a:lnTo>
                  <a:pt x="1548685" y="6742445"/>
                </a:lnTo>
                <a:cubicBezTo>
                  <a:pt x="1258353" y="5895779"/>
                  <a:pt x="735767" y="5109994"/>
                  <a:pt x="193301" y="4363992"/>
                </a:cubicBezTo>
                <a:lnTo>
                  <a:pt x="0" y="4101454"/>
                </a:lnTo>
                <a:lnTo>
                  <a:pt x="0" y="1829578"/>
                </a:lnTo>
                <a:lnTo>
                  <a:pt x="44396" y="1812744"/>
                </a:lnTo>
                <a:cubicBezTo>
                  <a:pt x="583685" y="1572617"/>
                  <a:pt x="878396" y="656734"/>
                  <a:pt x="1036786" y="47913"/>
                </a:cubicBez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8" name="Freeform 17"/>
          <p:cNvSpPr/>
          <p:nvPr userDrawn="1"/>
        </p:nvSpPr>
        <p:spPr bwMode="gray">
          <a:xfrm>
            <a:off x="0" y="0"/>
            <a:ext cx="12192000" cy="6858000"/>
          </a:xfrm>
          <a:custGeom>
            <a:avLst/>
            <a:gdLst>
              <a:gd name="connsiteX0" fmla="*/ 5001047 w 12192000"/>
              <a:gd name="connsiteY0" fmla="*/ 0 h 6858000"/>
              <a:gd name="connsiteX1" fmla="*/ 12192000 w 12192000"/>
              <a:gd name="connsiteY1" fmla="*/ 0 h 6858000"/>
              <a:gd name="connsiteX2" fmla="*/ 12192000 w 12192000"/>
              <a:gd name="connsiteY2" fmla="*/ 6858000 h 6858000"/>
              <a:gd name="connsiteX3" fmla="*/ 7221720 w 12192000"/>
              <a:gd name="connsiteY3" fmla="*/ 6858000 h 6858000"/>
              <a:gd name="connsiteX4" fmla="*/ 7237775 w 12192000"/>
              <a:gd name="connsiteY4" fmla="*/ 6819435 h 6858000"/>
              <a:gd name="connsiteX5" fmla="*/ 3518715 w 12192000"/>
              <a:gd name="connsiteY5" fmla="*/ 3017531 h 6858000"/>
              <a:gd name="connsiteX6" fmla="*/ 315503 w 12192000"/>
              <a:gd name="connsiteY6" fmla="*/ 4221858 h 6858000"/>
              <a:gd name="connsiteX7" fmla="*/ 0 w 12192000"/>
              <a:gd name="connsiteY7" fmla="*/ 4410739 h 6858000"/>
              <a:gd name="connsiteX8" fmla="*/ 0 w 12192000"/>
              <a:gd name="connsiteY8" fmla="*/ 3559956 h 6858000"/>
              <a:gd name="connsiteX9" fmla="*/ 14834 w 12192000"/>
              <a:gd name="connsiteY9" fmla="*/ 3558786 h 6858000"/>
              <a:gd name="connsiteX10" fmla="*/ 2614859 w 12192000"/>
              <a:gd name="connsiteY10" fmla="*/ 2721259 h 6858000"/>
              <a:gd name="connsiteX11" fmla="*/ 4920506 w 12192000"/>
              <a:gd name="connsiteY11" fmla="*/ 16407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5001047" y="0"/>
                </a:moveTo>
                <a:lnTo>
                  <a:pt x="12192000" y="0"/>
                </a:lnTo>
                <a:lnTo>
                  <a:pt x="12192000" y="6858000"/>
                </a:lnTo>
                <a:lnTo>
                  <a:pt x="7221720" y="6858000"/>
                </a:lnTo>
                <a:lnTo>
                  <a:pt x="7237775" y="6819435"/>
                </a:lnTo>
                <a:cubicBezTo>
                  <a:pt x="8169822" y="4313901"/>
                  <a:pt x="5459267" y="2690590"/>
                  <a:pt x="3518715" y="3017531"/>
                </a:cubicBezTo>
                <a:cubicBezTo>
                  <a:pt x="2350334" y="3211959"/>
                  <a:pt x="1301685" y="3656366"/>
                  <a:pt x="315503" y="4221858"/>
                </a:cubicBezTo>
                <a:lnTo>
                  <a:pt x="0" y="4410739"/>
                </a:lnTo>
                <a:lnTo>
                  <a:pt x="0" y="3559956"/>
                </a:lnTo>
                <a:lnTo>
                  <a:pt x="14834" y="3558786"/>
                </a:lnTo>
                <a:cubicBezTo>
                  <a:pt x="1005734" y="3455332"/>
                  <a:pt x="2070964" y="3027175"/>
                  <a:pt x="2614859" y="2721259"/>
                </a:cubicBezTo>
                <a:cubicBezTo>
                  <a:pt x="3683753" y="2116371"/>
                  <a:pt x="4438525" y="1086171"/>
                  <a:pt x="4920506" y="16407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grpSp>
        <p:nvGrpSpPr>
          <p:cNvPr id="19" name="Group 18"/>
          <p:cNvGrpSpPr>
            <a:grpSpLocks noChangeAspect="1"/>
          </p:cNvGrpSpPr>
          <p:nvPr userDrawn="1">
            <p:custDataLst>
              <p:tags r:id="rId2"/>
            </p:custDataLst>
          </p:nvPr>
        </p:nvGrpSpPr>
        <p:grpSpPr bwMode="gray">
          <a:xfrm>
            <a:off x="10539522" y="6440320"/>
            <a:ext cx="1028592" cy="162000"/>
            <a:chOff x="-4548188" y="3063875"/>
            <a:chExt cx="2741613" cy="431800"/>
          </a:xfrm>
          <a:solidFill>
            <a:schemeClr val="accent4"/>
          </a:solidFill>
        </p:grpSpPr>
        <p:sp>
          <p:nvSpPr>
            <p:cNvPr id="20" name="Freeform 9"/>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0"/>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1"/>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2"/>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3"/>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Text Placeholder 16"/>
          <p:cNvSpPr>
            <a:spLocks noGrp="1"/>
          </p:cNvSpPr>
          <p:nvPr>
            <p:ph type="body" sz="quarter" idx="13" hasCustomPrompt="1"/>
          </p:nvPr>
        </p:nvSpPr>
        <p:spPr bwMode="gray">
          <a:xfrm>
            <a:off x="6001475" y="1799192"/>
            <a:ext cx="1006525" cy="648325"/>
          </a:xfrm>
          <a:prstGeom prst="rect">
            <a:avLst/>
          </a:prstGeom>
        </p:spPr>
        <p:txBody>
          <a:bodyPr wrap="none"/>
          <a:lstStyle>
            <a:lvl1pPr marL="0" indent="0">
              <a:buFont typeface="Arial" panose="020B0604020202020204" pitchFamily="34" charset="0"/>
              <a:buNone/>
              <a:defRPr sz="4800" b="0">
                <a:ln>
                  <a:solidFill>
                    <a:schemeClr val="accent4"/>
                  </a:solidFill>
                </a:ln>
                <a:noFill/>
                <a:latin typeface="Merck" panose="04040805020F02020302" pitchFamily="82" charset="0"/>
              </a:defRPr>
            </a:lvl1pPr>
            <a:lvl2pPr marL="0" indent="0">
              <a:spcBef>
                <a:spcPts val="600"/>
              </a:spcBef>
              <a:buFont typeface="Arial" panose="020B0604020202020204" pitchFamily="34" charset="0"/>
              <a:buNone/>
              <a:defRPr sz="4800" b="0">
                <a:ln>
                  <a:solidFill>
                    <a:schemeClr val="accent4"/>
                  </a:solidFill>
                </a:ln>
                <a:noFill/>
                <a:latin typeface="Merck" panose="04040805020F02020302" pitchFamily="82" charset="0"/>
              </a:defRPr>
            </a:lvl2pPr>
            <a:lvl3pPr marL="0" indent="0">
              <a:spcBef>
                <a:spcPts val="600"/>
              </a:spcBef>
              <a:buNone/>
              <a:defRPr sz="4800" b="0">
                <a:ln>
                  <a:solidFill>
                    <a:schemeClr val="accent4"/>
                  </a:solidFill>
                </a:ln>
                <a:noFill/>
                <a:latin typeface="Merck" panose="04040805020F02020302" pitchFamily="82" charset="0"/>
              </a:defRPr>
            </a:lvl3pPr>
            <a:lvl4pPr marL="0" indent="0">
              <a:spcBef>
                <a:spcPts val="600"/>
              </a:spcBef>
              <a:buNone/>
              <a:defRPr sz="4800" b="0">
                <a:ln>
                  <a:solidFill>
                    <a:schemeClr val="accent4"/>
                  </a:solidFill>
                </a:ln>
                <a:noFill/>
                <a:latin typeface="Merck" panose="04040805020F02020302" pitchFamily="82" charset="0"/>
              </a:defRPr>
            </a:lvl4pPr>
            <a:lvl5pPr marL="0" indent="0">
              <a:spcBef>
                <a:spcPts val="600"/>
              </a:spcBef>
              <a:buNone/>
              <a:defRPr sz="4800" b="0">
                <a:ln>
                  <a:solidFill>
                    <a:schemeClr val="accent4"/>
                  </a:solidFill>
                </a:ln>
                <a:noFill/>
                <a:latin typeface="Merck" panose="04040805020F02020302" pitchFamily="82" charset="0"/>
              </a:defRPr>
            </a:lvl5pPr>
            <a:lvl6pPr marL="0" indent="0">
              <a:spcBef>
                <a:spcPts val="600"/>
              </a:spcBef>
              <a:buNone/>
              <a:defRPr sz="4800" b="0">
                <a:ln>
                  <a:solidFill>
                    <a:schemeClr val="accent4"/>
                  </a:solidFill>
                </a:ln>
                <a:noFill/>
                <a:latin typeface="Merck" panose="04040805020F02020302" pitchFamily="82" charset="0"/>
              </a:defRPr>
            </a:lvl6pPr>
            <a:lvl7pPr marL="0" indent="0">
              <a:spcBef>
                <a:spcPts val="600"/>
              </a:spcBef>
              <a:buNone/>
              <a:defRPr sz="4800" b="0">
                <a:ln>
                  <a:solidFill>
                    <a:schemeClr val="accent4"/>
                  </a:solidFill>
                </a:ln>
                <a:noFill/>
                <a:latin typeface="Merck" panose="04040805020F02020302" pitchFamily="82" charset="0"/>
              </a:defRPr>
            </a:lvl7pPr>
            <a:lvl8pPr marL="0" indent="0">
              <a:spcBef>
                <a:spcPts val="600"/>
              </a:spcBef>
              <a:buNone/>
              <a:defRPr sz="4800" b="0">
                <a:ln>
                  <a:solidFill>
                    <a:schemeClr val="accent4"/>
                  </a:solidFill>
                </a:ln>
                <a:noFill/>
                <a:latin typeface="Merck" panose="04040805020F02020302" pitchFamily="82" charset="0"/>
              </a:defRPr>
            </a:lvl8pPr>
            <a:lvl9pPr marL="0" indent="0">
              <a:spcBef>
                <a:spcPts val="600"/>
              </a:spcBef>
              <a:buNone/>
              <a:defRPr sz="4800" b="0">
                <a:ln>
                  <a:solidFill>
                    <a:schemeClr val="accent4"/>
                  </a:solidFill>
                </a:ln>
                <a:noFill/>
                <a:latin typeface="Merck" panose="04040805020F02020302" pitchFamily="82" charset="0"/>
              </a:defRPr>
            </a:lvl9pPr>
          </a:lstStyle>
          <a:p>
            <a:pPr lvl="0"/>
            <a:r>
              <a:rPr lang="en-US" noProof="0"/>
              <a:t>00</a:t>
            </a:r>
          </a:p>
        </p:txBody>
      </p:sp>
      <p:sp>
        <p:nvSpPr>
          <p:cNvPr id="13" name="Title 1"/>
          <p:cNvSpPr>
            <a:spLocks noGrp="1"/>
          </p:cNvSpPr>
          <p:nvPr>
            <p:ph type="title" hasCustomPrompt="1"/>
          </p:nvPr>
        </p:nvSpPr>
        <p:spPr bwMode="gray">
          <a:xfrm>
            <a:off x="7176119" y="1879992"/>
            <a:ext cx="4657508" cy="1180699"/>
          </a:xfrm>
          <a:prstGeom prst="rect">
            <a:avLst/>
          </a:prstGeom>
          <a:noFill/>
        </p:spPr>
        <p:txBody>
          <a:bodyPr tIns="72000" bIns="0" anchor="t" anchorCtr="0"/>
          <a:lstStyle>
            <a:lvl1pPr>
              <a:lnSpc>
                <a:spcPct val="100000"/>
              </a:lnSpc>
              <a:defRPr sz="3600" cap="none" baseline="0">
                <a:solidFill>
                  <a:schemeClr val="bg2"/>
                </a:solidFill>
                <a:latin typeface="Merck" panose="04040805020F02020302" pitchFamily="82" charset="0"/>
              </a:defRPr>
            </a:lvl1pPr>
          </a:lstStyle>
          <a:p>
            <a:pPr lvl="0"/>
            <a:r>
              <a:rPr lang="en-US" noProof="0"/>
              <a:t>Chapter name </a:t>
            </a:r>
            <a:br>
              <a:rPr lang="en-US" noProof="0"/>
            </a:br>
            <a:r>
              <a:rPr lang="en-US" noProof="0"/>
              <a:t>in two lines</a:t>
            </a:r>
          </a:p>
        </p:txBody>
      </p:sp>
    </p:spTree>
    <p:extLst>
      <p:ext uri="{BB962C8B-B14F-4D97-AF65-F5344CB8AC3E}">
        <p14:creationId xmlns:p14="http://schemas.microsoft.com/office/powerpoint/2010/main" val="17848496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act | 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gray">
          <a:xfrm>
            <a:off x="1" y="0"/>
            <a:ext cx="12192000" cy="6858001"/>
          </a:xfrm>
          <a:prstGeom prst="rect">
            <a:avLst/>
          </a:prstGeom>
          <a:solidFill>
            <a:srgbClr val="FFC832"/>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13" name="Text Placeholder AP3 Details"/>
          <p:cNvSpPr>
            <a:spLocks noGrp="1"/>
          </p:cNvSpPr>
          <p:nvPr>
            <p:ph type="body" sz="quarter" idx="25" hasCustomPrompt="1"/>
          </p:nvPr>
        </p:nvSpPr>
        <p:spPr bwMode="gray">
          <a:xfrm>
            <a:off x="3504000" y="4364999"/>
            <a:ext cx="2735999" cy="1727825"/>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r>
              <a:rPr lang="en-US" noProof="0"/>
              <a:t>Add your contact details here.</a:t>
            </a:r>
          </a:p>
        </p:txBody>
      </p:sp>
      <p:sp>
        <p:nvSpPr>
          <p:cNvPr id="20" name="Text Placeholder AP3 Name"/>
          <p:cNvSpPr>
            <a:spLocks noGrp="1"/>
          </p:cNvSpPr>
          <p:nvPr>
            <p:ph type="body" sz="quarter" idx="21" hasCustomPrompt="1"/>
          </p:nvPr>
        </p:nvSpPr>
        <p:spPr bwMode="gray">
          <a:xfrm>
            <a:off x="3504621" y="3931827"/>
            <a:ext cx="2735501" cy="432048"/>
          </a:xfrm>
          <a:prstGeom prst="rect">
            <a:avLst/>
          </a:prstGeom>
        </p:spPr>
        <p:txBody>
          <a:bodyPr vert="horz" lIns="0" tIns="36000" rIns="0" bIns="0" rtlCol="0" anchor="b" anchorCtr="0">
            <a:normAutofit/>
          </a:bodyPr>
          <a:lstStyle>
            <a:lvl1pPr marL="0" indent="0">
              <a:spcBef>
                <a:spcPts val="0"/>
              </a:spcBef>
              <a:spcAft>
                <a:spcPts val="0"/>
              </a:spcAft>
              <a:buFont typeface="Arial" panose="020B0604020202020204" pitchFamily="34" charset="0"/>
              <a:buNone/>
              <a:defRPr lang="en-US" sz="1400" b="0" i="0" cap="none" baseline="0" noProof="0" dirty="0" smtClean="0">
                <a:solidFill>
                  <a:schemeClr val="accent1"/>
                </a:solidFill>
                <a:latin typeface="Merck" panose="04040805020F02020302" pitchFamily="82" charset="0"/>
              </a:defRPr>
            </a:lvl1pPr>
            <a:lvl2pPr marL="0" indent="0">
              <a:spcBef>
                <a:spcPts val="0"/>
              </a:spcBef>
              <a:spcAft>
                <a:spcPts val="0"/>
              </a:spcAft>
              <a:buNone/>
              <a:defRPr cap="none">
                <a:solidFill>
                  <a:schemeClr val="accent1"/>
                </a:solidFill>
                <a:latin typeface="Merck" panose="04040805020F02020302" pitchFamily="82" charset="0"/>
              </a:defRPr>
            </a:lvl2pPr>
            <a:lvl3pPr marL="0" indent="0">
              <a:spcBef>
                <a:spcPts val="0"/>
              </a:spcBef>
              <a:spcAft>
                <a:spcPts val="0"/>
              </a:spcAft>
              <a:buNone/>
              <a:defRPr cap="none">
                <a:solidFill>
                  <a:schemeClr val="accent1"/>
                </a:solidFill>
                <a:latin typeface="Merck" panose="04040805020F02020302" pitchFamily="82" charset="0"/>
              </a:defRPr>
            </a:lvl3pPr>
            <a:lvl4pPr marL="0" indent="0">
              <a:spcBef>
                <a:spcPts val="0"/>
              </a:spcBef>
              <a:spcAft>
                <a:spcPts val="0"/>
              </a:spcAft>
              <a:buNone/>
              <a:defRPr cap="none">
                <a:solidFill>
                  <a:schemeClr val="accent1"/>
                </a:solidFill>
                <a:latin typeface="Merck" panose="04040805020F02020302" pitchFamily="82" charset="0"/>
              </a:defRPr>
            </a:lvl4pPr>
            <a:lvl5pPr marL="0" indent="0">
              <a:spcBef>
                <a:spcPts val="0"/>
              </a:spcBef>
              <a:spcAft>
                <a:spcPts val="0"/>
              </a:spcAft>
              <a:buNone/>
              <a:defRPr cap="none">
                <a:solidFill>
                  <a:schemeClr val="accent1"/>
                </a:solidFill>
                <a:latin typeface="Merck" panose="04040805020F02020302" pitchFamily="82" charset="0"/>
              </a:defRPr>
            </a:lvl5pPr>
            <a:lvl6pPr marL="0" indent="0">
              <a:spcBef>
                <a:spcPts val="0"/>
              </a:spcBef>
              <a:spcAft>
                <a:spcPts val="0"/>
              </a:spcAft>
              <a:buNone/>
              <a:defRPr cap="none">
                <a:solidFill>
                  <a:schemeClr val="accent1"/>
                </a:solidFill>
                <a:latin typeface="Merck" panose="04040805020F02020302" pitchFamily="82" charset="0"/>
              </a:defRPr>
            </a:lvl6pPr>
            <a:lvl7pPr marL="0" indent="0">
              <a:spcBef>
                <a:spcPts val="0"/>
              </a:spcBef>
              <a:spcAft>
                <a:spcPts val="0"/>
              </a:spcAft>
              <a:buNone/>
              <a:defRPr cap="none">
                <a:solidFill>
                  <a:schemeClr val="accent1"/>
                </a:solidFill>
                <a:latin typeface="Merck" panose="04040805020F02020302" pitchFamily="82" charset="0"/>
              </a:defRPr>
            </a:lvl7pPr>
            <a:lvl8pPr marL="0" indent="0">
              <a:spcBef>
                <a:spcPts val="0"/>
              </a:spcBef>
              <a:spcAft>
                <a:spcPts val="0"/>
              </a:spcAft>
              <a:buNone/>
              <a:defRPr cap="none">
                <a:solidFill>
                  <a:schemeClr val="accent1"/>
                </a:solidFill>
                <a:latin typeface="Merck" panose="04040805020F02020302" pitchFamily="82" charset="0"/>
              </a:defRPr>
            </a:lvl8pPr>
            <a:lvl9pPr marL="0" indent="0">
              <a:spcBef>
                <a:spcPts val="0"/>
              </a:spcBef>
              <a:spcAft>
                <a:spcPts val="0"/>
              </a:spcAft>
              <a:buNone/>
              <a:defRPr cap="none">
                <a:solidFill>
                  <a:schemeClr val="accent1"/>
                </a:solidFill>
                <a:latin typeface="Merck" panose="04040805020F02020302" pitchFamily="82" charset="0"/>
              </a:defRPr>
            </a:lvl9pPr>
          </a:lstStyle>
          <a:p>
            <a:pPr lvl="0"/>
            <a:r>
              <a:rPr lang="en-US" noProof="0"/>
              <a:t>Contact (Please edit)</a:t>
            </a:r>
          </a:p>
        </p:txBody>
      </p:sp>
      <p:sp>
        <p:nvSpPr>
          <p:cNvPr id="12" name="Text Placeholder AP2 Details"/>
          <p:cNvSpPr>
            <a:spLocks noGrp="1"/>
          </p:cNvSpPr>
          <p:nvPr>
            <p:ph type="body" sz="quarter" idx="24" hasCustomPrompt="1"/>
          </p:nvPr>
        </p:nvSpPr>
        <p:spPr bwMode="gray">
          <a:xfrm>
            <a:off x="624001" y="4366124"/>
            <a:ext cx="2735501" cy="1727825"/>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r>
              <a:rPr lang="en-US" noProof="0"/>
              <a:t>Add your contact details here.</a:t>
            </a:r>
          </a:p>
        </p:txBody>
      </p:sp>
      <p:sp>
        <p:nvSpPr>
          <p:cNvPr id="19" name="Text Placeholder AP2 Name"/>
          <p:cNvSpPr>
            <a:spLocks noGrp="1"/>
          </p:cNvSpPr>
          <p:nvPr>
            <p:ph type="body" sz="quarter" idx="20" hasCustomPrompt="1"/>
          </p:nvPr>
        </p:nvSpPr>
        <p:spPr bwMode="gray">
          <a:xfrm>
            <a:off x="624114" y="3932953"/>
            <a:ext cx="2735501" cy="432048"/>
          </a:xfrm>
          <a:prstGeom prst="rect">
            <a:avLst/>
          </a:prstGeom>
        </p:spPr>
        <p:txBody>
          <a:bodyPr vert="horz" lIns="0" tIns="36000" rIns="0" bIns="0" rtlCol="0" anchor="b" anchorCtr="0">
            <a:noAutofit/>
          </a:bodyPr>
          <a:lstStyle>
            <a:lvl1pPr marL="0" indent="0">
              <a:spcBef>
                <a:spcPts val="0"/>
              </a:spcBef>
              <a:spcAft>
                <a:spcPts val="0"/>
              </a:spcAft>
              <a:buFont typeface="Arial" panose="020B0604020202020204" pitchFamily="34" charset="0"/>
              <a:buNone/>
              <a:defRPr lang="en-US" sz="1400" b="0" i="0" cap="none" baseline="0" noProof="0" dirty="0" smtClean="0">
                <a:solidFill>
                  <a:schemeClr val="accent1"/>
                </a:solidFill>
                <a:latin typeface="Merck" panose="04040805020F02020302" pitchFamily="82" charset="0"/>
              </a:defRPr>
            </a:lvl1pPr>
            <a:lvl2pPr marL="0" indent="0">
              <a:spcBef>
                <a:spcPts val="0"/>
              </a:spcBef>
              <a:spcAft>
                <a:spcPts val="0"/>
              </a:spcAft>
              <a:buNone/>
              <a:defRPr sz="1400" cap="none">
                <a:solidFill>
                  <a:schemeClr val="accent1"/>
                </a:solidFill>
                <a:latin typeface="Merck" panose="04040805020F02020302" pitchFamily="82" charset="0"/>
              </a:defRPr>
            </a:lvl2pPr>
            <a:lvl3pPr marL="0" indent="0">
              <a:spcBef>
                <a:spcPts val="0"/>
              </a:spcBef>
              <a:spcAft>
                <a:spcPts val="0"/>
              </a:spcAft>
              <a:buNone/>
              <a:defRPr sz="1400" cap="none">
                <a:solidFill>
                  <a:schemeClr val="accent1"/>
                </a:solidFill>
                <a:latin typeface="Merck" panose="04040805020F02020302" pitchFamily="82" charset="0"/>
              </a:defRPr>
            </a:lvl3pPr>
            <a:lvl4pPr marL="0" indent="0">
              <a:spcBef>
                <a:spcPts val="0"/>
              </a:spcBef>
              <a:spcAft>
                <a:spcPts val="0"/>
              </a:spcAft>
              <a:buNone/>
              <a:defRPr sz="1400" cap="none">
                <a:solidFill>
                  <a:schemeClr val="accent1"/>
                </a:solidFill>
                <a:latin typeface="Merck" panose="04040805020F02020302" pitchFamily="82" charset="0"/>
              </a:defRPr>
            </a:lvl4pPr>
            <a:lvl5pPr marL="0" indent="0">
              <a:spcBef>
                <a:spcPts val="0"/>
              </a:spcBef>
              <a:spcAft>
                <a:spcPts val="0"/>
              </a:spcAft>
              <a:buNone/>
              <a:defRPr sz="1400" cap="none">
                <a:solidFill>
                  <a:schemeClr val="accent1"/>
                </a:solidFill>
                <a:latin typeface="Merck" panose="04040805020F02020302" pitchFamily="82" charset="0"/>
              </a:defRPr>
            </a:lvl5pPr>
            <a:lvl6pPr marL="0" indent="0">
              <a:spcBef>
                <a:spcPts val="0"/>
              </a:spcBef>
              <a:spcAft>
                <a:spcPts val="0"/>
              </a:spcAft>
              <a:buNone/>
              <a:defRPr sz="1400" cap="none">
                <a:solidFill>
                  <a:schemeClr val="accent1"/>
                </a:solidFill>
                <a:latin typeface="Merck" panose="04040805020F02020302" pitchFamily="82" charset="0"/>
              </a:defRPr>
            </a:lvl6pPr>
            <a:lvl7pPr marL="0" indent="0">
              <a:spcBef>
                <a:spcPts val="0"/>
              </a:spcBef>
              <a:spcAft>
                <a:spcPts val="0"/>
              </a:spcAft>
              <a:buNone/>
              <a:defRPr sz="1400" cap="none">
                <a:solidFill>
                  <a:schemeClr val="accent1"/>
                </a:solidFill>
                <a:latin typeface="Merck" panose="04040805020F02020302" pitchFamily="82" charset="0"/>
              </a:defRPr>
            </a:lvl7pPr>
            <a:lvl8pPr marL="0" indent="0">
              <a:spcBef>
                <a:spcPts val="0"/>
              </a:spcBef>
              <a:spcAft>
                <a:spcPts val="0"/>
              </a:spcAft>
              <a:buNone/>
              <a:defRPr sz="1400" cap="none">
                <a:solidFill>
                  <a:schemeClr val="accent1"/>
                </a:solidFill>
                <a:latin typeface="Merck" panose="04040805020F02020302" pitchFamily="82" charset="0"/>
              </a:defRPr>
            </a:lvl8pPr>
            <a:lvl9pPr marL="0" indent="0">
              <a:spcBef>
                <a:spcPts val="0"/>
              </a:spcBef>
              <a:spcAft>
                <a:spcPts val="0"/>
              </a:spcAft>
              <a:buNone/>
              <a:defRPr sz="1400" cap="none">
                <a:solidFill>
                  <a:schemeClr val="accent1"/>
                </a:solidFill>
                <a:latin typeface="Merck" panose="04040805020F02020302" pitchFamily="82" charset="0"/>
              </a:defRPr>
            </a:lvl9pPr>
          </a:lstStyle>
          <a:p>
            <a:pPr lvl="0"/>
            <a:r>
              <a:rPr lang="en-US" noProof="0"/>
              <a:t>Contact (Please edit)</a:t>
            </a:r>
          </a:p>
        </p:txBody>
      </p:sp>
      <p:sp>
        <p:nvSpPr>
          <p:cNvPr id="18" name="Text Placeholder AP1 Details"/>
          <p:cNvSpPr>
            <a:spLocks noGrp="1"/>
          </p:cNvSpPr>
          <p:nvPr>
            <p:ph type="body" sz="quarter" idx="19" hasCustomPrompt="1"/>
          </p:nvPr>
        </p:nvSpPr>
        <p:spPr bwMode="gray">
          <a:xfrm>
            <a:off x="624092" y="1988999"/>
            <a:ext cx="2735410" cy="1727825"/>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spcBef>
                <a:spcPts val="0"/>
              </a:spcBef>
              <a:buClr>
                <a:srgbClr val="52328F"/>
              </a:buClr>
            </a:pPr>
            <a:r>
              <a:rPr lang="en-US" noProof="0"/>
              <a:t>Add your contact details here.</a:t>
            </a:r>
          </a:p>
        </p:txBody>
      </p:sp>
      <p:sp>
        <p:nvSpPr>
          <p:cNvPr id="4" name="Text Placeholder AP1 Name"/>
          <p:cNvSpPr>
            <a:spLocks noGrp="1"/>
          </p:cNvSpPr>
          <p:nvPr>
            <p:ph type="body" sz="quarter" idx="10" hasCustomPrompt="1"/>
          </p:nvPr>
        </p:nvSpPr>
        <p:spPr bwMode="gray">
          <a:xfrm>
            <a:off x="624001" y="1556952"/>
            <a:ext cx="2735501" cy="432048"/>
          </a:xfrm>
          <a:prstGeom prst="rect">
            <a:avLst/>
          </a:prstGeom>
        </p:spPr>
        <p:txBody>
          <a:bodyPr anchor="b" anchorCtr="0"/>
          <a:lstStyle>
            <a:lvl1pPr marL="0" indent="0">
              <a:spcBef>
                <a:spcPts val="0"/>
              </a:spcBef>
              <a:spcAft>
                <a:spcPts val="0"/>
              </a:spcAft>
              <a:buFont typeface="Arial" panose="020B0604020202020204" pitchFamily="34" charset="0"/>
              <a:buNone/>
              <a:defRPr lang="en-US" sz="1400" b="0" i="0" kern="1200" cap="none" baseline="0" noProof="0" dirty="0" smtClean="0">
                <a:solidFill>
                  <a:schemeClr val="accent1"/>
                </a:solidFill>
                <a:latin typeface="Merck" panose="04040805020F02020302" pitchFamily="82" charset="0"/>
                <a:ea typeface="Verdana" panose="020B0604030504040204" pitchFamily="34" charset="0"/>
                <a:cs typeface="Verdana" panose="020B0604030504040204" pitchFamily="34" charset="0"/>
              </a:defRPr>
            </a:lvl1pPr>
            <a:lvl2pPr marL="0" indent="0">
              <a:spcBef>
                <a:spcPts val="0"/>
              </a:spcBef>
              <a:spcAft>
                <a:spcPts val="0"/>
              </a:spcAft>
              <a:buNone/>
              <a:defRPr sz="1400" cap="none">
                <a:solidFill>
                  <a:schemeClr val="accent1"/>
                </a:solidFill>
                <a:latin typeface="Merck" panose="04040805020F02020302" pitchFamily="82" charset="0"/>
              </a:defRPr>
            </a:lvl2pPr>
            <a:lvl3pPr marL="0" indent="0">
              <a:spcBef>
                <a:spcPts val="0"/>
              </a:spcBef>
              <a:spcAft>
                <a:spcPts val="0"/>
              </a:spcAft>
              <a:buNone/>
              <a:defRPr sz="1400" cap="none">
                <a:solidFill>
                  <a:schemeClr val="accent1"/>
                </a:solidFill>
                <a:latin typeface="Merck" panose="04040805020F02020302" pitchFamily="82" charset="0"/>
              </a:defRPr>
            </a:lvl3pPr>
            <a:lvl4pPr marL="0" indent="0">
              <a:spcBef>
                <a:spcPts val="0"/>
              </a:spcBef>
              <a:spcAft>
                <a:spcPts val="0"/>
              </a:spcAft>
              <a:buNone/>
              <a:defRPr sz="1400" cap="none">
                <a:solidFill>
                  <a:schemeClr val="accent1"/>
                </a:solidFill>
                <a:latin typeface="Merck" panose="04040805020F02020302" pitchFamily="82" charset="0"/>
              </a:defRPr>
            </a:lvl4pPr>
            <a:lvl5pPr marL="0" indent="0">
              <a:spcBef>
                <a:spcPts val="0"/>
              </a:spcBef>
              <a:spcAft>
                <a:spcPts val="0"/>
              </a:spcAft>
              <a:buNone/>
              <a:defRPr sz="1400" cap="none">
                <a:solidFill>
                  <a:schemeClr val="accent1"/>
                </a:solidFill>
                <a:latin typeface="Merck" panose="04040805020F02020302" pitchFamily="82" charset="0"/>
              </a:defRPr>
            </a:lvl5pPr>
            <a:lvl6pPr marL="0" indent="0">
              <a:spcBef>
                <a:spcPts val="0"/>
              </a:spcBef>
              <a:spcAft>
                <a:spcPts val="0"/>
              </a:spcAft>
              <a:buNone/>
              <a:defRPr sz="1400" cap="none">
                <a:solidFill>
                  <a:schemeClr val="accent1"/>
                </a:solidFill>
                <a:latin typeface="Merck" panose="04040805020F02020302" pitchFamily="82" charset="0"/>
              </a:defRPr>
            </a:lvl6pPr>
            <a:lvl7pPr marL="0" indent="0">
              <a:spcBef>
                <a:spcPts val="0"/>
              </a:spcBef>
              <a:spcAft>
                <a:spcPts val="0"/>
              </a:spcAft>
              <a:buNone/>
              <a:defRPr sz="1400" cap="none">
                <a:solidFill>
                  <a:schemeClr val="accent1"/>
                </a:solidFill>
                <a:latin typeface="Merck" panose="04040805020F02020302" pitchFamily="82" charset="0"/>
              </a:defRPr>
            </a:lvl7pPr>
            <a:lvl8pPr marL="0" indent="0">
              <a:spcBef>
                <a:spcPts val="0"/>
              </a:spcBef>
              <a:spcAft>
                <a:spcPts val="0"/>
              </a:spcAft>
              <a:buNone/>
              <a:defRPr sz="1400" cap="none">
                <a:solidFill>
                  <a:schemeClr val="accent1"/>
                </a:solidFill>
                <a:latin typeface="Merck" panose="04040805020F02020302" pitchFamily="82" charset="0"/>
              </a:defRPr>
            </a:lvl8pPr>
            <a:lvl9pPr marL="0" indent="0">
              <a:spcBef>
                <a:spcPts val="0"/>
              </a:spcBef>
              <a:spcAft>
                <a:spcPts val="0"/>
              </a:spcAft>
              <a:buNone/>
              <a:defRPr sz="1400" cap="none">
                <a:solidFill>
                  <a:schemeClr val="accent1"/>
                </a:solidFill>
                <a:latin typeface="Merck" panose="04040805020F02020302" pitchFamily="82" charset="0"/>
              </a:defRPr>
            </a:lvl9pPr>
          </a:lstStyle>
          <a:p>
            <a:pPr lvl="0"/>
            <a:r>
              <a:rPr lang="en-US" noProof="0"/>
              <a:t>Contact (Please edit)</a:t>
            </a:r>
          </a:p>
        </p:txBody>
      </p:sp>
      <p:grpSp>
        <p:nvGrpSpPr>
          <p:cNvPr id="2" name="Logo Merck"/>
          <p:cNvGrpSpPr/>
          <p:nvPr userDrawn="1"/>
        </p:nvGrpSpPr>
        <p:grpSpPr bwMode="gray">
          <a:xfrm>
            <a:off x="7453808" y="4123208"/>
            <a:ext cx="4114800" cy="1970088"/>
            <a:chOff x="7453313" y="4122737"/>
            <a:chExt cx="4114800" cy="1970088"/>
          </a:xfrm>
        </p:grpSpPr>
        <p:sp>
          <p:nvSpPr>
            <p:cNvPr id="15" name="Freeform 6"/>
            <p:cNvSpPr>
              <a:spLocks noEditPoints="1"/>
            </p:cNvSpPr>
            <p:nvPr userDrawn="1"/>
          </p:nvSpPr>
          <p:spPr bwMode="gray">
            <a:xfrm>
              <a:off x="7453313" y="4122737"/>
              <a:ext cx="4114800" cy="1970088"/>
            </a:xfrm>
            <a:custGeom>
              <a:avLst/>
              <a:gdLst>
                <a:gd name="T0" fmla="*/ 13648 w 13648"/>
                <a:gd name="T1" fmla="*/ 961 h 6536"/>
                <a:gd name="T2" fmla="*/ 12687 w 13648"/>
                <a:gd name="T3" fmla="*/ 0 h 6536"/>
                <a:gd name="T4" fmla="*/ 11669 w 13648"/>
                <a:gd name="T5" fmla="*/ 0 h 6536"/>
                <a:gd name="T6" fmla="*/ 11538 w 13648"/>
                <a:gd name="T7" fmla="*/ 53 h 6536"/>
                <a:gd name="T8" fmla="*/ 9497 w 13648"/>
                <a:gd name="T9" fmla="*/ 1968 h 6536"/>
                <a:gd name="T10" fmla="*/ 6824 w 13648"/>
                <a:gd name="T11" fmla="*/ 2994 h 6536"/>
                <a:gd name="T12" fmla="*/ 4064 w 13648"/>
                <a:gd name="T13" fmla="*/ 1885 h 6536"/>
                <a:gd name="T14" fmla="*/ 2550 w 13648"/>
                <a:gd name="T15" fmla="*/ 463 h 6536"/>
                <a:gd name="T16" fmla="*/ 1410 w 13648"/>
                <a:gd name="T17" fmla="*/ 0 h 6536"/>
                <a:gd name="T18" fmla="*/ 192 w 13648"/>
                <a:gd name="T19" fmla="*/ 0 h 6536"/>
                <a:gd name="T20" fmla="*/ 0 w 13648"/>
                <a:gd name="T21" fmla="*/ 192 h 6536"/>
                <a:gd name="T22" fmla="*/ 0 w 13648"/>
                <a:gd name="T23" fmla="*/ 309 h 6536"/>
                <a:gd name="T24" fmla="*/ 127 w 13648"/>
                <a:gd name="T25" fmla="*/ 302 h 6536"/>
                <a:gd name="T26" fmla="*/ 2129 w 13648"/>
                <a:gd name="T27" fmla="*/ 2283 h 6536"/>
                <a:gd name="T28" fmla="*/ 127 w 13648"/>
                <a:gd name="T29" fmla="*/ 4263 h 6536"/>
                <a:gd name="T30" fmla="*/ 0 w 13648"/>
                <a:gd name="T31" fmla="*/ 4257 h 6536"/>
                <a:gd name="T32" fmla="*/ 0 w 13648"/>
                <a:gd name="T33" fmla="*/ 5575 h 6536"/>
                <a:gd name="T34" fmla="*/ 961 w 13648"/>
                <a:gd name="T35" fmla="*/ 6536 h 6536"/>
                <a:gd name="T36" fmla="*/ 1333 w 13648"/>
                <a:gd name="T37" fmla="*/ 6536 h 6536"/>
                <a:gd name="T38" fmla="*/ 1584 w 13648"/>
                <a:gd name="T39" fmla="*/ 6536 h 6536"/>
                <a:gd name="T40" fmla="*/ 1777 w 13648"/>
                <a:gd name="T41" fmla="*/ 6343 h 6536"/>
                <a:gd name="T42" fmla="*/ 1778 w 13648"/>
                <a:gd name="T43" fmla="*/ 4427 h 6536"/>
                <a:gd name="T44" fmla="*/ 2679 w 13648"/>
                <a:gd name="T45" fmla="*/ 3514 h 6536"/>
                <a:gd name="T46" fmla="*/ 4847 w 13648"/>
                <a:gd name="T47" fmla="*/ 4824 h 6536"/>
                <a:gd name="T48" fmla="*/ 6045 w 13648"/>
                <a:gd name="T49" fmla="*/ 5829 h 6536"/>
                <a:gd name="T50" fmla="*/ 7855 w 13648"/>
                <a:gd name="T51" fmla="*/ 3785 h 6536"/>
                <a:gd name="T52" fmla="*/ 10293 w 13648"/>
                <a:gd name="T53" fmla="*/ 3661 h 6536"/>
                <a:gd name="T54" fmla="*/ 10969 w 13648"/>
                <a:gd name="T55" fmla="*/ 3514 h 6536"/>
                <a:gd name="T56" fmla="*/ 11870 w 13648"/>
                <a:gd name="T57" fmla="*/ 4419 h 6536"/>
                <a:gd name="T58" fmla="*/ 11870 w 13648"/>
                <a:gd name="T59" fmla="*/ 5575 h 6536"/>
                <a:gd name="T60" fmla="*/ 12831 w 13648"/>
                <a:gd name="T61" fmla="*/ 6535 h 6536"/>
                <a:gd name="T62" fmla="*/ 13246 w 13648"/>
                <a:gd name="T63" fmla="*/ 6535 h 6536"/>
                <a:gd name="T64" fmla="*/ 13455 w 13648"/>
                <a:gd name="T65" fmla="*/ 6536 h 6536"/>
                <a:gd name="T66" fmla="*/ 13455 w 13648"/>
                <a:gd name="T67" fmla="*/ 6536 h 6536"/>
                <a:gd name="T68" fmla="*/ 13648 w 13648"/>
                <a:gd name="T69" fmla="*/ 6343 h 6536"/>
                <a:gd name="T70" fmla="*/ 13648 w 13648"/>
                <a:gd name="T71" fmla="*/ 6113 h 6536"/>
                <a:gd name="T72" fmla="*/ 13648 w 13648"/>
                <a:gd name="T73" fmla="*/ 961 h 6536"/>
                <a:gd name="T74" fmla="*/ 12632 w 13648"/>
                <a:gd name="T75" fmla="*/ 3226 h 6536"/>
                <a:gd name="T76" fmla="*/ 11729 w 13648"/>
                <a:gd name="T77" fmla="*/ 2572 h 6536"/>
                <a:gd name="T78" fmla="*/ 10751 w 13648"/>
                <a:gd name="T79" fmla="*/ 1902 h 6536"/>
                <a:gd name="T80" fmla="*/ 12481 w 13648"/>
                <a:gd name="T81" fmla="*/ 1838 h 6536"/>
                <a:gd name="T82" fmla="*/ 12632 w 13648"/>
                <a:gd name="T83" fmla="*/ 3226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648" h="6536">
                  <a:moveTo>
                    <a:pt x="13648" y="961"/>
                  </a:moveTo>
                  <a:cubicBezTo>
                    <a:pt x="13648" y="430"/>
                    <a:pt x="13218" y="0"/>
                    <a:pt x="12687" y="0"/>
                  </a:cubicBezTo>
                  <a:cubicBezTo>
                    <a:pt x="11669" y="0"/>
                    <a:pt x="11669" y="0"/>
                    <a:pt x="11669" y="0"/>
                  </a:cubicBezTo>
                  <a:cubicBezTo>
                    <a:pt x="11618" y="0"/>
                    <a:pt x="11572" y="20"/>
                    <a:pt x="11538" y="53"/>
                  </a:cubicBezTo>
                  <a:cubicBezTo>
                    <a:pt x="9497" y="1968"/>
                    <a:pt x="9497" y="1968"/>
                    <a:pt x="9497" y="1968"/>
                  </a:cubicBezTo>
                  <a:cubicBezTo>
                    <a:pt x="8799" y="2625"/>
                    <a:pt x="7858" y="2994"/>
                    <a:pt x="6824" y="2994"/>
                  </a:cubicBezTo>
                  <a:cubicBezTo>
                    <a:pt x="5746" y="2994"/>
                    <a:pt x="4771" y="2591"/>
                    <a:pt x="4064" y="1885"/>
                  </a:cubicBezTo>
                  <a:cubicBezTo>
                    <a:pt x="4064" y="1885"/>
                    <a:pt x="2564" y="476"/>
                    <a:pt x="2550" y="463"/>
                  </a:cubicBezTo>
                  <a:cubicBezTo>
                    <a:pt x="2262" y="195"/>
                    <a:pt x="1866" y="10"/>
                    <a:pt x="1410" y="0"/>
                  </a:cubicBezTo>
                  <a:cubicBezTo>
                    <a:pt x="192" y="0"/>
                    <a:pt x="192" y="0"/>
                    <a:pt x="192" y="0"/>
                  </a:cubicBezTo>
                  <a:cubicBezTo>
                    <a:pt x="86" y="0"/>
                    <a:pt x="0" y="86"/>
                    <a:pt x="0" y="192"/>
                  </a:cubicBezTo>
                  <a:cubicBezTo>
                    <a:pt x="0" y="309"/>
                    <a:pt x="0" y="309"/>
                    <a:pt x="0" y="309"/>
                  </a:cubicBezTo>
                  <a:cubicBezTo>
                    <a:pt x="42" y="306"/>
                    <a:pt x="84" y="302"/>
                    <a:pt x="127" y="302"/>
                  </a:cubicBezTo>
                  <a:cubicBezTo>
                    <a:pt x="1233" y="302"/>
                    <a:pt x="2129" y="1189"/>
                    <a:pt x="2129" y="2283"/>
                  </a:cubicBezTo>
                  <a:cubicBezTo>
                    <a:pt x="2129" y="3377"/>
                    <a:pt x="1233" y="4263"/>
                    <a:pt x="127" y="4263"/>
                  </a:cubicBezTo>
                  <a:cubicBezTo>
                    <a:pt x="84" y="4263"/>
                    <a:pt x="42" y="4259"/>
                    <a:pt x="0" y="4257"/>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8" y="4427"/>
                    <a:pt x="1778" y="4427"/>
                    <a:pt x="1778" y="4427"/>
                  </a:cubicBezTo>
                  <a:cubicBezTo>
                    <a:pt x="1778" y="3927"/>
                    <a:pt x="2186" y="3514"/>
                    <a:pt x="2679" y="3514"/>
                  </a:cubicBezTo>
                  <a:cubicBezTo>
                    <a:pt x="3595" y="3514"/>
                    <a:pt x="4253" y="4299"/>
                    <a:pt x="4847" y="4824"/>
                  </a:cubicBezTo>
                  <a:cubicBezTo>
                    <a:pt x="5285" y="5211"/>
                    <a:pt x="5663" y="5589"/>
                    <a:pt x="6045" y="5829"/>
                  </a:cubicBezTo>
                  <a:cubicBezTo>
                    <a:pt x="6051" y="5102"/>
                    <a:pt x="6768" y="4257"/>
                    <a:pt x="7855" y="3785"/>
                  </a:cubicBezTo>
                  <a:cubicBezTo>
                    <a:pt x="8772" y="3388"/>
                    <a:pt x="9702" y="3364"/>
                    <a:pt x="10293" y="3661"/>
                  </a:cubicBezTo>
                  <a:cubicBezTo>
                    <a:pt x="10502" y="3570"/>
                    <a:pt x="10726" y="3514"/>
                    <a:pt x="10969" y="3514"/>
                  </a:cubicBezTo>
                  <a:cubicBezTo>
                    <a:pt x="11459" y="3514"/>
                    <a:pt x="11865" y="3922"/>
                    <a:pt x="11870" y="4419"/>
                  </a:cubicBezTo>
                  <a:cubicBezTo>
                    <a:pt x="11870" y="4419"/>
                    <a:pt x="11870" y="5567"/>
                    <a:pt x="11870" y="5575"/>
                  </a:cubicBezTo>
                  <a:cubicBezTo>
                    <a:pt x="11870" y="6106"/>
                    <a:pt x="12300" y="6535"/>
                    <a:pt x="12831" y="6535"/>
                  </a:cubicBezTo>
                  <a:cubicBezTo>
                    <a:pt x="13246" y="6535"/>
                    <a:pt x="13246" y="6535"/>
                    <a:pt x="13246" y="6535"/>
                  </a:cubicBezTo>
                  <a:cubicBezTo>
                    <a:pt x="13355" y="6535"/>
                    <a:pt x="13455" y="6536"/>
                    <a:pt x="13455" y="6536"/>
                  </a:cubicBezTo>
                  <a:cubicBezTo>
                    <a:pt x="13455" y="6536"/>
                    <a:pt x="13455" y="6536"/>
                    <a:pt x="13455" y="6536"/>
                  </a:cubicBezTo>
                  <a:cubicBezTo>
                    <a:pt x="13562" y="6536"/>
                    <a:pt x="13648" y="6449"/>
                    <a:pt x="13648" y="6343"/>
                  </a:cubicBezTo>
                  <a:cubicBezTo>
                    <a:pt x="13648" y="6113"/>
                    <a:pt x="13648" y="6113"/>
                    <a:pt x="13648" y="6113"/>
                  </a:cubicBezTo>
                  <a:cubicBezTo>
                    <a:pt x="13648" y="5089"/>
                    <a:pt x="13648" y="1001"/>
                    <a:pt x="13648" y="961"/>
                  </a:cubicBezTo>
                  <a:close/>
                  <a:moveTo>
                    <a:pt x="12632" y="3226"/>
                  </a:moveTo>
                  <a:cubicBezTo>
                    <a:pt x="12484" y="3174"/>
                    <a:pt x="12284" y="3026"/>
                    <a:pt x="11729" y="2572"/>
                  </a:cubicBezTo>
                  <a:cubicBezTo>
                    <a:pt x="11174" y="2118"/>
                    <a:pt x="10351" y="2391"/>
                    <a:pt x="10751" y="1902"/>
                  </a:cubicBezTo>
                  <a:cubicBezTo>
                    <a:pt x="11151" y="1413"/>
                    <a:pt x="11926" y="1384"/>
                    <a:pt x="12481" y="1838"/>
                  </a:cubicBezTo>
                  <a:cubicBezTo>
                    <a:pt x="13036" y="2292"/>
                    <a:pt x="13229" y="3434"/>
                    <a:pt x="12632" y="322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p:cNvSpPr>
              <a:spLocks/>
            </p:cNvSpPr>
            <p:nvPr userDrawn="1"/>
          </p:nvSpPr>
          <p:spPr bwMode="gray">
            <a:xfrm>
              <a:off x="7453313" y="4122737"/>
              <a:ext cx="4114800" cy="1970088"/>
            </a:xfrm>
            <a:custGeom>
              <a:avLst/>
              <a:gdLst>
                <a:gd name="T0" fmla="*/ 11932 w 13648"/>
                <a:gd name="T1" fmla="*/ 3358 h 6536"/>
                <a:gd name="T2" fmla="*/ 13648 w 13648"/>
                <a:gd name="T3" fmla="*/ 3699 h 6536"/>
                <a:gd name="T4" fmla="*/ 13648 w 13648"/>
                <a:gd name="T5" fmla="*/ 2168 h 6536"/>
                <a:gd name="T6" fmla="*/ 11489 w 13648"/>
                <a:gd name="T7" fmla="*/ 1768 h 6536"/>
                <a:gd name="T8" fmla="*/ 12716 w 13648"/>
                <a:gd name="T9" fmla="*/ 3 h 6536"/>
                <a:gd name="T10" fmla="*/ 12687 w 13648"/>
                <a:gd name="T11" fmla="*/ 0 h 6536"/>
                <a:gd name="T12" fmla="*/ 11669 w 13648"/>
                <a:gd name="T13" fmla="*/ 0 h 6536"/>
                <a:gd name="T14" fmla="*/ 11538 w 13648"/>
                <a:gd name="T15" fmla="*/ 53 h 6536"/>
                <a:gd name="T16" fmla="*/ 10298 w 13648"/>
                <a:gd name="T17" fmla="*/ 1217 h 6536"/>
                <a:gd name="T18" fmla="*/ 9293 w 13648"/>
                <a:gd name="T19" fmla="*/ 3115 h 6536"/>
                <a:gd name="T20" fmla="*/ 5182 w 13648"/>
                <a:gd name="T21" fmla="*/ 4321 h 6536"/>
                <a:gd name="T22" fmla="*/ 4569 w 13648"/>
                <a:gd name="T23" fmla="*/ 2303 h 6536"/>
                <a:gd name="T24" fmla="*/ 4064 w 13648"/>
                <a:gd name="T25" fmla="*/ 1885 h 6536"/>
                <a:gd name="T26" fmla="*/ 3466 w 13648"/>
                <a:gd name="T27" fmla="*/ 1323 h 6536"/>
                <a:gd name="T28" fmla="*/ 1362 w 13648"/>
                <a:gd name="T29" fmla="*/ 1511 h 6536"/>
                <a:gd name="T30" fmla="*/ 908 w 13648"/>
                <a:gd name="T31" fmla="*/ 0 h 6536"/>
                <a:gd name="T32" fmla="*/ 192 w 13648"/>
                <a:gd name="T33" fmla="*/ 0 h 6536"/>
                <a:gd name="T34" fmla="*/ 0 w 13648"/>
                <a:gd name="T35" fmla="*/ 192 h 6536"/>
                <a:gd name="T36" fmla="*/ 0 w 13648"/>
                <a:gd name="T37" fmla="*/ 5575 h 6536"/>
                <a:gd name="T38" fmla="*/ 961 w 13648"/>
                <a:gd name="T39" fmla="*/ 6536 h 6536"/>
                <a:gd name="T40" fmla="*/ 1333 w 13648"/>
                <a:gd name="T41" fmla="*/ 6536 h 6536"/>
                <a:gd name="T42" fmla="*/ 1584 w 13648"/>
                <a:gd name="T43" fmla="*/ 6536 h 6536"/>
                <a:gd name="T44" fmla="*/ 1777 w 13648"/>
                <a:gd name="T45" fmla="*/ 6343 h 6536"/>
                <a:gd name="T46" fmla="*/ 1777 w 13648"/>
                <a:gd name="T47" fmla="*/ 5509 h 6536"/>
                <a:gd name="T48" fmla="*/ 888 w 13648"/>
                <a:gd name="T49" fmla="*/ 5419 h 6536"/>
                <a:gd name="T50" fmla="*/ 1132 w 13648"/>
                <a:gd name="T51" fmla="*/ 3510 h 6536"/>
                <a:gd name="T52" fmla="*/ 2953 w 13648"/>
                <a:gd name="T53" fmla="*/ 2855 h 6536"/>
                <a:gd name="T54" fmla="*/ 3266 w 13648"/>
                <a:gd name="T55" fmla="*/ 3625 h 6536"/>
                <a:gd name="T56" fmla="*/ 4847 w 13648"/>
                <a:gd name="T57" fmla="*/ 4824 h 6536"/>
                <a:gd name="T58" fmla="*/ 6824 w 13648"/>
                <a:gd name="T59" fmla="*/ 6085 h 6536"/>
                <a:gd name="T60" fmla="*/ 8801 w 13648"/>
                <a:gd name="T61" fmla="*/ 4824 h 6536"/>
                <a:gd name="T62" fmla="*/ 10515 w 13648"/>
                <a:gd name="T63" fmla="*/ 3580 h 6536"/>
                <a:gd name="T64" fmla="*/ 10519 w 13648"/>
                <a:gd name="T65" fmla="*/ 3579 h 6536"/>
                <a:gd name="T66" fmla="*/ 11932 w 13648"/>
                <a:gd name="T67" fmla="*/ 3358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48" h="6536">
                  <a:moveTo>
                    <a:pt x="11932" y="3358"/>
                  </a:moveTo>
                  <a:cubicBezTo>
                    <a:pt x="12549" y="3358"/>
                    <a:pt x="13129" y="3483"/>
                    <a:pt x="13648" y="3699"/>
                  </a:cubicBezTo>
                  <a:cubicBezTo>
                    <a:pt x="13648" y="3162"/>
                    <a:pt x="13648" y="2624"/>
                    <a:pt x="13648" y="2168"/>
                  </a:cubicBezTo>
                  <a:cubicBezTo>
                    <a:pt x="12897" y="2341"/>
                    <a:pt x="11747" y="2453"/>
                    <a:pt x="11489" y="1768"/>
                  </a:cubicBezTo>
                  <a:cubicBezTo>
                    <a:pt x="11253" y="1142"/>
                    <a:pt x="11893" y="161"/>
                    <a:pt x="12716" y="3"/>
                  </a:cubicBezTo>
                  <a:cubicBezTo>
                    <a:pt x="12706" y="2"/>
                    <a:pt x="12697" y="0"/>
                    <a:pt x="12687" y="0"/>
                  </a:cubicBezTo>
                  <a:cubicBezTo>
                    <a:pt x="11669" y="0"/>
                    <a:pt x="11669" y="0"/>
                    <a:pt x="11669" y="0"/>
                  </a:cubicBezTo>
                  <a:cubicBezTo>
                    <a:pt x="11618" y="0"/>
                    <a:pt x="11572" y="20"/>
                    <a:pt x="11538" y="53"/>
                  </a:cubicBezTo>
                  <a:cubicBezTo>
                    <a:pt x="10298" y="1217"/>
                    <a:pt x="10298" y="1217"/>
                    <a:pt x="10298" y="1217"/>
                  </a:cubicBezTo>
                  <a:cubicBezTo>
                    <a:pt x="10132" y="1855"/>
                    <a:pt x="9794" y="2520"/>
                    <a:pt x="9293" y="3115"/>
                  </a:cubicBezTo>
                  <a:cubicBezTo>
                    <a:pt x="8033" y="4612"/>
                    <a:pt x="6154" y="5214"/>
                    <a:pt x="5182" y="4321"/>
                  </a:cubicBezTo>
                  <a:cubicBezTo>
                    <a:pt x="4669" y="3850"/>
                    <a:pt x="4468" y="3114"/>
                    <a:pt x="4569" y="2303"/>
                  </a:cubicBezTo>
                  <a:cubicBezTo>
                    <a:pt x="4390" y="2178"/>
                    <a:pt x="4219" y="2040"/>
                    <a:pt x="4064" y="1885"/>
                  </a:cubicBezTo>
                  <a:cubicBezTo>
                    <a:pt x="4064" y="1885"/>
                    <a:pt x="3784" y="1623"/>
                    <a:pt x="3466" y="1323"/>
                  </a:cubicBezTo>
                  <a:cubicBezTo>
                    <a:pt x="2590" y="2124"/>
                    <a:pt x="1943" y="2023"/>
                    <a:pt x="1362" y="1511"/>
                  </a:cubicBezTo>
                  <a:cubicBezTo>
                    <a:pt x="1086" y="1269"/>
                    <a:pt x="912" y="614"/>
                    <a:pt x="908" y="0"/>
                  </a:cubicBezTo>
                  <a:cubicBezTo>
                    <a:pt x="192" y="0"/>
                    <a:pt x="192" y="0"/>
                    <a:pt x="192" y="0"/>
                  </a:cubicBezTo>
                  <a:cubicBezTo>
                    <a:pt x="86" y="0"/>
                    <a:pt x="0" y="86"/>
                    <a:pt x="0" y="192"/>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7" y="5509"/>
                    <a:pt x="1777" y="5509"/>
                    <a:pt x="1777" y="5509"/>
                  </a:cubicBezTo>
                  <a:cubicBezTo>
                    <a:pt x="1435" y="5629"/>
                    <a:pt x="1123" y="5594"/>
                    <a:pt x="888" y="5419"/>
                  </a:cubicBezTo>
                  <a:cubicBezTo>
                    <a:pt x="469" y="5108"/>
                    <a:pt x="558" y="4229"/>
                    <a:pt x="1132" y="3510"/>
                  </a:cubicBezTo>
                  <a:cubicBezTo>
                    <a:pt x="1704" y="2759"/>
                    <a:pt x="2537" y="2539"/>
                    <a:pt x="2953" y="2855"/>
                  </a:cubicBezTo>
                  <a:cubicBezTo>
                    <a:pt x="3161" y="3012"/>
                    <a:pt x="3285" y="3285"/>
                    <a:pt x="3266" y="3625"/>
                  </a:cubicBezTo>
                  <a:cubicBezTo>
                    <a:pt x="3891" y="3860"/>
                    <a:pt x="4388" y="4418"/>
                    <a:pt x="4847" y="4824"/>
                  </a:cubicBezTo>
                  <a:cubicBezTo>
                    <a:pt x="5574" y="5466"/>
                    <a:pt x="6134" y="6085"/>
                    <a:pt x="6824" y="6085"/>
                  </a:cubicBezTo>
                  <a:cubicBezTo>
                    <a:pt x="7513" y="6085"/>
                    <a:pt x="8073" y="5466"/>
                    <a:pt x="8801" y="4824"/>
                  </a:cubicBezTo>
                  <a:cubicBezTo>
                    <a:pt x="9292" y="4390"/>
                    <a:pt x="9827" y="3779"/>
                    <a:pt x="10515" y="3580"/>
                  </a:cubicBezTo>
                  <a:cubicBezTo>
                    <a:pt x="10517" y="3580"/>
                    <a:pt x="10517" y="3580"/>
                    <a:pt x="10519" y="3579"/>
                  </a:cubicBezTo>
                  <a:cubicBezTo>
                    <a:pt x="10948" y="3445"/>
                    <a:pt x="11450" y="3358"/>
                    <a:pt x="11932" y="3358"/>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0908002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act | P">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4" name="Rectangle 13"/>
          <p:cNvSpPr/>
          <p:nvPr userDrawn="1"/>
        </p:nvSpPr>
        <p:spPr bwMode="gray">
          <a:xfrm>
            <a:off x="1" y="0"/>
            <a:ext cx="12192000" cy="6858001"/>
          </a:xfrm>
          <a:prstGeom prst="rect">
            <a:avLst/>
          </a:prstGeom>
          <a:solidFill>
            <a:srgbClr val="A5CD50"/>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12" name="Text Placeholder AP3 Details"/>
          <p:cNvSpPr>
            <a:spLocks noGrp="1"/>
          </p:cNvSpPr>
          <p:nvPr>
            <p:ph type="body" sz="quarter" idx="25" hasCustomPrompt="1"/>
          </p:nvPr>
        </p:nvSpPr>
        <p:spPr bwMode="gray">
          <a:xfrm>
            <a:off x="3504000" y="4364999"/>
            <a:ext cx="2735999" cy="1727825"/>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r>
              <a:rPr lang="en-US" noProof="0"/>
              <a:t>Add your contact details here.</a:t>
            </a:r>
          </a:p>
        </p:txBody>
      </p:sp>
      <p:sp>
        <p:nvSpPr>
          <p:cNvPr id="18" name="Text Placeholder AP2 Details"/>
          <p:cNvSpPr>
            <a:spLocks noGrp="1"/>
          </p:cNvSpPr>
          <p:nvPr>
            <p:ph type="body" sz="quarter" idx="24" hasCustomPrompt="1"/>
          </p:nvPr>
        </p:nvSpPr>
        <p:spPr bwMode="gray">
          <a:xfrm>
            <a:off x="624001" y="4366124"/>
            <a:ext cx="2735501" cy="1727825"/>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r>
              <a:rPr lang="en-US" noProof="0"/>
              <a:t>Add your contact details here.</a:t>
            </a:r>
          </a:p>
        </p:txBody>
      </p:sp>
      <p:sp>
        <p:nvSpPr>
          <p:cNvPr id="20" name="Text Placeholder AP1 Details"/>
          <p:cNvSpPr>
            <a:spLocks noGrp="1"/>
          </p:cNvSpPr>
          <p:nvPr>
            <p:ph type="body" sz="quarter" idx="19" hasCustomPrompt="1"/>
          </p:nvPr>
        </p:nvSpPr>
        <p:spPr bwMode="gray">
          <a:xfrm>
            <a:off x="624092" y="1988999"/>
            <a:ext cx="2735410" cy="1727825"/>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r>
              <a:rPr lang="en-US" noProof="0"/>
              <a:t>Add your contact details here.</a:t>
            </a:r>
          </a:p>
        </p:txBody>
      </p:sp>
      <p:grpSp>
        <p:nvGrpSpPr>
          <p:cNvPr id="9" name="Logo Merck"/>
          <p:cNvGrpSpPr/>
          <p:nvPr userDrawn="1"/>
        </p:nvGrpSpPr>
        <p:grpSpPr bwMode="gray">
          <a:xfrm>
            <a:off x="7453808" y="4123208"/>
            <a:ext cx="4114800" cy="1970088"/>
            <a:chOff x="7453313" y="4122737"/>
            <a:chExt cx="4114800" cy="1970088"/>
          </a:xfrm>
        </p:grpSpPr>
        <p:sp>
          <p:nvSpPr>
            <p:cNvPr id="10" name="Freeform 6"/>
            <p:cNvSpPr>
              <a:spLocks noEditPoints="1"/>
            </p:cNvSpPr>
            <p:nvPr userDrawn="1"/>
          </p:nvSpPr>
          <p:spPr bwMode="gray">
            <a:xfrm>
              <a:off x="7453313" y="4122737"/>
              <a:ext cx="4114800" cy="1970088"/>
            </a:xfrm>
            <a:custGeom>
              <a:avLst/>
              <a:gdLst>
                <a:gd name="T0" fmla="*/ 13648 w 13648"/>
                <a:gd name="T1" fmla="*/ 961 h 6536"/>
                <a:gd name="T2" fmla="*/ 12687 w 13648"/>
                <a:gd name="T3" fmla="*/ 0 h 6536"/>
                <a:gd name="T4" fmla="*/ 11669 w 13648"/>
                <a:gd name="T5" fmla="*/ 0 h 6536"/>
                <a:gd name="T6" fmla="*/ 11538 w 13648"/>
                <a:gd name="T7" fmla="*/ 53 h 6536"/>
                <a:gd name="T8" fmla="*/ 9497 w 13648"/>
                <a:gd name="T9" fmla="*/ 1968 h 6536"/>
                <a:gd name="T10" fmla="*/ 6824 w 13648"/>
                <a:gd name="T11" fmla="*/ 2994 h 6536"/>
                <a:gd name="T12" fmla="*/ 4064 w 13648"/>
                <a:gd name="T13" fmla="*/ 1885 h 6536"/>
                <a:gd name="T14" fmla="*/ 2550 w 13648"/>
                <a:gd name="T15" fmla="*/ 463 h 6536"/>
                <a:gd name="T16" fmla="*/ 1410 w 13648"/>
                <a:gd name="T17" fmla="*/ 0 h 6536"/>
                <a:gd name="T18" fmla="*/ 192 w 13648"/>
                <a:gd name="T19" fmla="*/ 0 h 6536"/>
                <a:gd name="T20" fmla="*/ 0 w 13648"/>
                <a:gd name="T21" fmla="*/ 192 h 6536"/>
                <a:gd name="T22" fmla="*/ 0 w 13648"/>
                <a:gd name="T23" fmla="*/ 309 h 6536"/>
                <a:gd name="T24" fmla="*/ 127 w 13648"/>
                <a:gd name="T25" fmla="*/ 302 h 6536"/>
                <a:gd name="T26" fmla="*/ 2129 w 13648"/>
                <a:gd name="T27" fmla="*/ 2283 h 6536"/>
                <a:gd name="T28" fmla="*/ 127 w 13648"/>
                <a:gd name="T29" fmla="*/ 4263 h 6536"/>
                <a:gd name="T30" fmla="*/ 0 w 13648"/>
                <a:gd name="T31" fmla="*/ 4257 h 6536"/>
                <a:gd name="T32" fmla="*/ 0 w 13648"/>
                <a:gd name="T33" fmla="*/ 5575 h 6536"/>
                <a:gd name="T34" fmla="*/ 961 w 13648"/>
                <a:gd name="T35" fmla="*/ 6536 h 6536"/>
                <a:gd name="T36" fmla="*/ 1333 w 13648"/>
                <a:gd name="T37" fmla="*/ 6536 h 6536"/>
                <a:gd name="T38" fmla="*/ 1584 w 13648"/>
                <a:gd name="T39" fmla="*/ 6536 h 6536"/>
                <a:gd name="T40" fmla="*/ 1777 w 13648"/>
                <a:gd name="T41" fmla="*/ 6343 h 6536"/>
                <a:gd name="T42" fmla="*/ 1778 w 13648"/>
                <a:gd name="T43" fmla="*/ 4427 h 6536"/>
                <a:gd name="T44" fmla="*/ 2679 w 13648"/>
                <a:gd name="T45" fmla="*/ 3514 h 6536"/>
                <a:gd name="T46" fmla="*/ 4847 w 13648"/>
                <a:gd name="T47" fmla="*/ 4824 h 6536"/>
                <a:gd name="T48" fmla="*/ 6045 w 13648"/>
                <a:gd name="T49" fmla="*/ 5829 h 6536"/>
                <a:gd name="T50" fmla="*/ 7855 w 13648"/>
                <a:gd name="T51" fmla="*/ 3785 h 6536"/>
                <a:gd name="T52" fmla="*/ 10293 w 13648"/>
                <a:gd name="T53" fmla="*/ 3661 h 6536"/>
                <a:gd name="T54" fmla="*/ 10969 w 13648"/>
                <a:gd name="T55" fmla="*/ 3514 h 6536"/>
                <a:gd name="T56" fmla="*/ 11870 w 13648"/>
                <a:gd name="T57" fmla="*/ 4419 h 6536"/>
                <a:gd name="T58" fmla="*/ 11870 w 13648"/>
                <a:gd name="T59" fmla="*/ 5575 h 6536"/>
                <a:gd name="T60" fmla="*/ 12831 w 13648"/>
                <a:gd name="T61" fmla="*/ 6535 h 6536"/>
                <a:gd name="T62" fmla="*/ 13246 w 13648"/>
                <a:gd name="T63" fmla="*/ 6535 h 6536"/>
                <a:gd name="T64" fmla="*/ 13455 w 13648"/>
                <a:gd name="T65" fmla="*/ 6536 h 6536"/>
                <a:gd name="T66" fmla="*/ 13455 w 13648"/>
                <a:gd name="T67" fmla="*/ 6536 h 6536"/>
                <a:gd name="T68" fmla="*/ 13648 w 13648"/>
                <a:gd name="T69" fmla="*/ 6343 h 6536"/>
                <a:gd name="T70" fmla="*/ 13648 w 13648"/>
                <a:gd name="T71" fmla="*/ 6113 h 6536"/>
                <a:gd name="T72" fmla="*/ 13648 w 13648"/>
                <a:gd name="T73" fmla="*/ 961 h 6536"/>
                <a:gd name="T74" fmla="*/ 12632 w 13648"/>
                <a:gd name="T75" fmla="*/ 3226 h 6536"/>
                <a:gd name="T76" fmla="*/ 11729 w 13648"/>
                <a:gd name="T77" fmla="*/ 2572 h 6536"/>
                <a:gd name="T78" fmla="*/ 10751 w 13648"/>
                <a:gd name="T79" fmla="*/ 1902 h 6536"/>
                <a:gd name="T80" fmla="*/ 12481 w 13648"/>
                <a:gd name="T81" fmla="*/ 1838 h 6536"/>
                <a:gd name="T82" fmla="*/ 12632 w 13648"/>
                <a:gd name="T83" fmla="*/ 3226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648" h="6536">
                  <a:moveTo>
                    <a:pt x="13648" y="961"/>
                  </a:moveTo>
                  <a:cubicBezTo>
                    <a:pt x="13648" y="430"/>
                    <a:pt x="13218" y="0"/>
                    <a:pt x="12687" y="0"/>
                  </a:cubicBezTo>
                  <a:cubicBezTo>
                    <a:pt x="11669" y="0"/>
                    <a:pt x="11669" y="0"/>
                    <a:pt x="11669" y="0"/>
                  </a:cubicBezTo>
                  <a:cubicBezTo>
                    <a:pt x="11618" y="0"/>
                    <a:pt x="11572" y="20"/>
                    <a:pt x="11538" y="53"/>
                  </a:cubicBezTo>
                  <a:cubicBezTo>
                    <a:pt x="9497" y="1968"/>
                    <a:pt x="9497" y="1968"/>
                    <a:pt x="9497" y="1968"/>
                  </a:cubicBezTo>
                  <a:cubicBezTo>
                    <a:pt x="8799" y="2625"/>
                    <a:pt x="7858" y="2994"/>
                    <a:pt x="6824" y="2994"/>
                  </a:cubicBezTo>
                  <a:cubicBezTo>
                    <a:pt x="5746" y="2994"/>
                    <a:pt x="4771" y="2591"/>
                    <a:pt x="4064" y="1885"/>
                  </a:cubicBezTo>
                  <a:cubicBezTo>
                    <a:pt x="4064" y="1885"/>
                    <a:pt x="2564" y="476"/>
                    <a:pt x="2550" y="463"/>
                  </a:cubicBezTo>
                  <a:cubicBezTo>
                    <a:pt x="2262" y="195"/>
                    <a:pt x="1866" y="10"/>
                    <a:pt x="1410" y="0"/>
                  </a:cubicBezTo>
                  <a:cubicBezTo>
                    <a:pt x="192" y="0"/>
                    <a:pt x="192" y="0"/>
                    <a:pt x="192" y="0"/>
                  </a:cubicBezTo>
                  <a:cubicBezTo>
                    <a:pt x="86" y="0"/>
                    <a:pt x="0" y="86"/>
                    <a:pt x="0" y="192"/>
                  </a:cubicBezTo>
                  <a:cubicBezTo>
                    <a:pt x="0" y="309"/>
                    <a:pt x="0" y="309"/>
                    <a:pt x="0" y="309"/>
                  </a:cubicBezTo>
                  <a:cubicBezTo>
                    <a:pt x="42" y="306"/>
                    <a:pt x="84" y="302"/>
                    <a:pt x="127" y="302"/>
                  </a:cubicBezTo>
                  <a:cubicBezTo>
                    <a:pt x="1233" y="302"/>
                    <a:pt x="2129" y="1189"/>
                    <a:pt x="2129" y="2283"/>
                  </a:cubicBezTo>
                  <a:cubicBezTo>
                    <a:pt x="2129" y="3377"/>
                    <a:pt x="1233" y="4263"/>
                    <a:pt x="127" y="4263"/>
                  </a:cubicBezTo>
                  <a:cubicBezTo>
                    <a:pt x="84" y="4263"/>
                    <a:pt x="42" y="4259"/>
                    <a:pt x="0" y="4257"/>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8" y="4427"/>
                    <a:pt x="1778" y="4427"/>
                    <a:pt x="1778" y="4427"/>
                  </a:cubicBezTo>
                  <a:cubicBezTo>
                    <a:pt x="1778" y="3927"/>
                    <a:pt x="2186" y="3514"/>
                    <a:pt x="2679" y="3514"/>
                  </a:cubicBezTo>
                  <a:cubicBezTo>
                    <a:pt x="3595" y="3514"/>
                    <a:pt x="4253" y="4299"/>
                    <a:pt x="4847" y="4824"/>
                  </a:cubicBezTo>
                  <a:cubicBezTo>
                    <a:pt x="5285" y="5211"/>
                    <a:pt x="5663" y="5589"/>
                    <a:pt x="6045" y="5829"/>
                  </a:cubicBezTo>
                  <a:cubicBezTo>
                    <a:pt x="6051" y="5102"/>
                    <a:pt x="6768" y="4257"/>
                    <a:pt x="7855" y="3785"/>
                  </a:cubicBezTo>
                  <a:cubicBezTo>
                    <a:pt x="8772" y="3388"/>
                    <a:pt x="9702" y="3364"/>
                    <a:pt x="10293" y="3661"/>
                  </a:cubicBezTo>
                  <a:cubicBezTo>
                    <a:pt x="10502" y="3570"/>
                    <a:pt x="10726" y="3514"/>
                    <a:pt x="10969" y="3514"/>
                  </a:cubicBezTo>
                  <a:cubicBezTo>
                    <a:pt x="11459" y="3514"/>
                    <a:pt x="11865" y="3922"/>
                    <a:pt x="11870" y="4419"/>
                  </a:cubicBezTo>
                  <a:cubicBezTo>
                    <a:pt x="11870" y="4419"/>
                    <a:pt x="11870" y="5567"/>
                    <a:pt x="11870" y="5575"/>
                  </a:cubicBezTo>
                  <a:cubicBezTo>
                    <a:pt x="11870" y="6106"/>
                    <a:pt x="12300" y="6535"/>
                    <a:pt x="12831" y="6535"/>
                  </a:cubicBezTo>
                  <a:cubicBezTo>
                    <a:pt x="13246" y="6535"/>
                    <a:pt x="13246" y="6535"/>
                    <a:pt x="13246" y="6535"/>
                  </a:cubicBezTo>
                  <a:cubicBezTo>
                    <a:pt x="13355" y="6535"/>
                    <a:pt x="13455" y="6536"/>
                    <a:pt x="13455" y="6536"/>
                  </a:cubicBezTo>
                  <a:cubicBezTo>
                    <a:pt x="13455" y="6536"/>
                    <a:pt x="13455" y="6536"/>
                    <a:pt x="13455" y="6536"/>
                  </a:cubicBezTo>
                  <a:cubicBezTo>
                    <a:pt x="13562" y="6536"/>
                    <a:pt x="13648" y="6449"/>
                    <a:pt x="13648" y="6343"/>
                  </a:cubicBezTo>
                  <a:cubicBezTo>
                    <a:pt x="13648" y="6113"/>
                    <a:pt x="13648" y="6113"/>
                    <a:pt x="13648" y="6113"/>
                  </a:cubicBezTo>
                  <a:cubicBezTo>
                    <a:pt x="13648" y="5089"/>
                    <a:pt x="13648" y="1001"/>
                    <a:pt x="13648" y="961"/>
                  </a:cubicBezTo>
                  <a:close/>
                  <a:moveTo>
                    <a:pt x="12632" y="3226"/>
                  </a:moveTo>
                  <a:cubicBezTo>
                    <a:pt x="12484" y="3174"/>
                    <a:pt x="12284" y="3026"/>
                    <a:pt x="11729" y="2572"/>
                  </a:cubicBezTo>
                  <a:cubicBezTo>
                    <a:pt x="11174" y="2118"/>
                    <a:pt x="10351" y="2391"/>
                    <a:pt x="10751" y="1902"/>
                  </a:cubicBezTo>
                  <a:cubicBezTo>
                    <a:pt x="11151" y="1413"/>
                    <a:pt x="11926" y="1384"/>
                    <a:pt x="12481" y="1838"/>
                  </a:cubicBezTo>
                  <a:cubicBezTo>
                    <a:pt x="13036" y="2292"/>
                    <a:pt x="13229" y="3434"/>
                    <a:pt x="12632" y="322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7"/>
            <p:cNvSpPr>
              <a:spLocks/>
            </p:cNvSpPr>
            <p:nvPr userDrawn="1"/>
          </p:nvSpPr>
          <p:spPr bwMode="gray">
            <a:xfrm>
              <a:off x="7453313" y="4122737"/>
              <a:ext cx="4114800" cy="1970088"/>
            </a:xfrm>
            <a:custGeom>
              <a:avLst/>
              <a:gdLst>
                <a:gd name="T0" fmla="*/ 11932 w 13648"/>
                <a:gd name="T1" fmla="*/ 3358 h 6536"/>
                <a:gd name="T2" fmla="*/ 13648 w 13648"/>
                <a:gd name="T3" fmla="*/ 3699 h 6536"/>
                <a:gd name="T4" fmla="*/ 13648 w 13648"/>
                <a:gd name="T5" fmla="*/ 2168 h 6536"/>
                <a:gd name="T6" fmla="*/ 11489 w 13648"/>
                <a:gd name="T7" fmla="*/ 1768 h 6536"/>
                <a:gd name="T8" fmla="*/ 12716 w 13648"/>
                <a:gd name="T9" fmla="*/ 3 h 6536"/>
                <a:gd name="T10" fmla="*/ 12687 w 13648"/>
                <a:gd name="T11" fmla="*/ 0 h 6536"/>
                <a:gd name="T12" fmla="*/ 11669 w 13648"/>
                <a:gd name="T13" fmla="*/ 0 h 6536"/>
                <a:gd name="T14" fmla="*/ 11538 w 13648"/>
                <a:gd name="T15" fmla="*/ 53 h 6536"/>
                <a:gd name="T16" fmla="*/ 10298 w 13648"/>
                <a:gd name="T17" fmla="*/ 1217 h 6536"/>
                <a:gd name="T18" fmla="*/ 9293 w 13648"/>
                <a:gd name="T19" fmla="*/ 3115 h 6536"/>
                <a:gd name="T20" fmla="*/ 5182 w 13648"/>
                <a:gd name="T21" fmla="*/ 4321 h 6536"/>
                <a:gd name="T22" fmla="*/ 4569 w 13648"/>
                <a:gd name="T23" fmla="*/ 2303 h 6536"/>
                <a:gd name="T24" fmla="*/ 4064 w 13648"/>
                <a:gd name="T25" fmla="*/ 1885 h 6536"/>
                <a:gd name="T26" fmla="*/ 3466 w 13648"/>
                <a:gd name="T27" fmla="*/ 1323 h 6536"/>
                <a:gd name="T28" fmla="*/ 1362 w 13648"/>
                <a:gd name="T29" fmla="*/ 1511 h 6536"/>
                <a:gd name="T30" fmla="*/ 908 w 13648"/>
                <a:gd name="T31" fmla="*/ 0 h 6536"/>
                <a:gd name="T32" fmla="*/ 192 w 13648"/>
                <a:gd name="T33" fmla="*/ 0 h 6536"/>
                <a:gd name="T34" fmla="*/ 0 w 13648"/>
                <a:gd name="T35" fmla="*/ 192 h 6536"/>
                <a:gd name="T36" fmla="*/ 0 w 13648"/>
                <a:gd name="T37" fmla="*/ 5575 h 6536"/>
                <a:gd name="T38" fmla="*/ 961 w 13648"/>
                <a:gd name="T39" fmla="*/ 6536 h 6536"/>
                <a:gd name="T40" fmla="*/ 1333 w 13648"/>
                <a:gd name="T41" fmla="*/ 6536 h 6536"/>
                <a:gd name="T42" fmla="*/ 1584 w 13648"/>
                <a:gd name="T43" fmla="*/ 6536 h 6536"/>
                <a:gd name="T44" fmla="*/ 1777 w 13648"/>
                <a:gd name="T45" fmla="*/ 6343 h 6536"/>
                <a:gd name="T46" fmla="*/ 1777 w 13648"/>
                <a:gd name="T47" fmla="*/ 5509 h 6536"/>
                <a:gd name="T48" fmla="*/ 888 w 13648"/>
                <a:gd name="T49" fmla="*/ 5419 h 6536"/>
                <a:gd name="T50" fmla="*/ 1132 w 13648"/>
                <a:gd name="T51" fmla="*/ 3510 h 6536"/>
                <a:gd name="T52" fmla="*/ 2953 w 13648"/>
                <a:gd name="T53" fmla="*/ 2855 h 6536"/>
                <a:gd name="T54" fmla="*/ 3266 w 13648"/>
                <a:gd name="T55" fmla="*/ 3625 h 6536"/>
                <a:gd name="T56" fmla="*/ 4847 w 13648"/>
                <a:gd name="T57" fmla="*/ 4824 h 6536"/>
                <a:gd name="T58" fmla="*/ 6824 w 13648"/>
                <a:gd name="T59" fmla="*/ 6085 h 6536"/>
                <a:gd name="T60" fmla="*/ 8801 w 13648"/>
                <a:gd name="T61" fmla="*/ 4824 h 6536"/>
                <a:gd name="T62" fmla="*/ 10515 w 13648"/>
                <a:gd name="T63" fmla="*/ 3580 h 6536"/>
                <a:gd name="T64" fmla="*/ 10519 w 13648"/>
                <a:gd name="T65" fmla="*/ 3579 h 6536"/>
                <a:gd name="T66" fmla="*/ 11932 w 13648"/>
                <a:gd name="T67" fmla="*/ 3358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48" h="6536">
                  <a:moveTo>
                    <a:pt x="11932" y="3358"/>
                  </a:moveTo>
                  <a:cubicBezTo>
                    <a:pt x="12549" y="3358"/>
                    <a:pt x="13129" y="3483"/>
                    <a:pt x="13648" y="3699"/>
                  </a:cubicBezTo>
                  <a:cubicBezTo>
                    <a:pt x="13648" y="3162"/>
                    <a:pt x="13648" y="2624"/>
                    <a:pt x="13648" y="2168"/>
                  </a:cubicBezTo>
                  <a:cubicBezTo>
                    <a:pt x="12897" y="2341"/>
                    <a:pt x="11747" y="2453"/>
                    <a:pt x="11489" y="1768"/>
                  </a:cubicBezTo>
                  <a:cubicBezTo>
                    <a:pt x="11253" y="1142"/>
                    <a:pt x="11893" y="161"/>
                    <a:pt x="12716" y="3"/>
                  </a:cubicBezTo>
                  <a:cubicBezTo>
                    <a:pt x="12706" y="2"/>
                    <a:pt x="12697" y="0"/>
                    <a:pt x="12687" y="0"/>
                  </a:cubicBezTo>
                  <a:cubicBezTo>
                    <a:pt x="11669" y="0"/>
                    <a:pt x="11669" y="0"/>
                    <a:pt x="11669" y="0"/>
                  </a:cubicBezTo>
                  <a:cubicBezTo>
                    <a:pt x="11618" y="0"/>
                    <a:pt x="11572" y="20"/>
                    <a:pt x="11538" y="53"/>
                  </a:cubicBezTo>
                  <a:cubicBezTo>
                    <a:pt x="10298" y="1217"/>
                    <a:pt x="10298" y="1217"/>
                    <a:pt x="10298" y="1217"/>
                  </a:cubicBezTo>
                  <a:cubicBezTo>
                    <a:pt x="10132" y="1855"/>
                    <a:pt x="9794" y="2520"/>
                    <a:pt x="9293" y="3115"/>
                  </a:cubicBezTo>
                  <a:cubicBezTo>
                    <a:pt x="8033" y="4612"/>
                    <a:pt x="6154" y="5214"/>
                    <a:pt x="5182" y="4321"/>
                  </a:cubicBezTo>
                  <a:cubicBezTo>
                    <a:pt x="4669" y="3850"/>
                    <a:pt x="4468" y="3114"/>
                    <a:pt x="4569" y="2303"/>
                  </a:cubicBezTo>
                  <a:cubicBezTo>
                    <a:pt x="4390" y="2178"/>
                    <a:pt x="4219" y="2040"/>
                    <a:pt x="4064" y="1885"/>
                  </a:cubicBezTo>
                  <a:cubicBezTo>
                    <a:pt x="4064" y="1885"/>
                    <a:pt x="3784" y="1623"/>
                    <a:pt x="3466" y="1323"/>
                  </a:cubicBezTo>
                  <a:cubicBezTo>
                    <a:pt x="2590" y="2124"/>
                    <a:pt x="1943" y="2023"/>
                    <a:pt x="1362" y="1511"/>
                  </a:cubicBezTo>
                  <a:cubicBezTo>
                    <a:pt x="1086" y="1269"/>
                    <a:pt x="912" y="614"/>
                    <a:pt x="908" y="0"/>
                  </a:cubicBezTo>
                  <a:cubicBezTo>
                    <a:pt x="192" y="0"/>
                    <a:pt x="192" y="0"/>
                    <a:pt x="192" y="0"/>
                  </a:cubicBezTo>
                  <a:cubicBezTo>
                    <a:pt x="86" y="0"/>
                    <a:pt x="0" y="86"/>
                    <a:pt x="0" y="192"/>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7" y="5509"/>
                    <a:pt x="1777" y="5509"/>
                    <a:pt x="1777" y="5509"/>
                  </a:cubicBezTo>
                  <a:cubicBezTo>
                    <a:pt x="1435" y="5629"/>
                    <a:pt x="1123" y="5594"/>
                    <a:pt x="888" y="5419"/>
                  </a:cubicBezTo>
                  <a:cubicBezTo>
                    <a:pt x="469" y="5108"/>
                    <a:pt x="558" y="4229"/>
                    <a:pt x="1132" y="3510"/>
                  </a:cubicBezTo>
                  <a:cubicBezTo>
                    <a:pt x="1704" y="2759"/>
                    <a:pt x="2537" y="2539"/>
                    <a:pt x="2953" y="2855"/>
                  </a:cubicBezTo>
                  <a:cubicBezTo>
                    <a:pt x="3161" y="3012"/>
                    <a:pt x="3285" y="3285"/>
                    <a:pt x="3266" y="3625"/>
                  </a:cubicBezTo>
                  <a:cubicBezTo>
                    <a:pt x="3891" y="3860"/>
                    <a:pt x="4388" y="4418"/>
                    <a:pt x="4847" y="4824"/>
                  </a:cubicBezTo>
                  <a:cubicBezTo>
                    <a:pt x="5574" y="5466"/>
                    <a:pt x="6134" y="6085"/>
                    <a:pt x="6824" y="6085"/>
                  </a:cubicBezTo>
                  <a:cubicBezTo>
                    <a:pt x="7513" y="6085"/>
                    <a:pt x="8073" y="5466"/>
                    <a:pt x="8801" y="4824"/>
                  </a:cubicBezTo>
                  <a:cubicBezTo>
                    <a:pt x="9292" y="4390"/>
                    <a:pt x="9827" y="3779"/>
                    <a:pt x="10515" y="3580"/>
                  </a:cubicBezTo>
                  <a:cubicBezTo>
                    <a:pt x="10517" y="3580"/>
                    <a:pt x="10517" y="3580"/>
                    <a:pt x="10519" y="3579"/>
                  </a:cubicBezTo>
                  <a:cubicBezTo>
                    <a:pt x="10948" y="3445"/>
                    <a:pt x="11450" y="3358"/>
                    <a:pt x="11932" y="3358"/>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1" name="Text Placeholder AP3 Name"/>
          <p:cNvSpPr>
            <a:spLocks noGrp="1"/>
          </p:cNvSpPr>
          <p:nvPr>
            <p:ph type="body" sz="quarter" idx="21" hasCustomPrompt="1"/>
          </p:nvPr>
        </p:nvSpPr>
        <p:spPr bwMode="gray">
          <a:xfrm>
            <a:off x="3504621" y="3931827"/>
            <a:ext cx="2735501" cy="432048"/>
          </a:xfrm>
          <a:prstGeom prst="rect">
            <a:avLst/>
          </a:prstGeom>
        </p:spPr>
        <p:txBody>
          <a:bodyPr vert="horz" lIns="0" tIns="36000" rIns="0" bIns="0" rtlCol="0" anchor="b" anchorCtr="0">
            <a:normAutofit/>
          </a:bodyPr>
          <a:lstStyle>
            <a:lvl1pPr marL="0" indent="0">
              <a:spcBef>
                <a:spcPts val="0"/>
              </a:spcBef>
              <a:spcAft>
                <a:spcPts val="0"/>
              </a:spcAft>
              <a:buFont typeface="Arial" panose="020B0604020202020204" pitchFamily="34" charset="0"/>
              <a:buNone/>
              <a:defRPr lang="en-US" sz="1400" b="0" i="0" cap="none" baseline="0" noProof="0" dirty="0" smtClean="0">
                <a:solidFill>
                  <a:schemeClr val="accent1"/>
                </a:solidFill>
                <a:latin typeface="Merck" panose="04040805020F02020302" pitchFamily="82" charset="0"/>
              </a:defRPr>
            </a:lvl1pPr>
            <a:lvl2pPr marL="0" indent="0">
              <a:spcBef>
                <a:spcPts val="0"/>
              </a:spcBef>
              <a:spcAft>
                <a:spcPts val="0"/>
              </a:spcAft>
              <a:buNone/>
              <a:defRPr cap="none">
                <a:solidFill>
                  <a:schemeClr val="accent1"/>
                </a:solidFill>
                <a:latin typeface="Merck" panose="04040805020F02020302" pitchFamily="82" charset="0"/>
              </a:defRPr>
            </a:lvl2pPr>
            <a:lvl3pPr marL="0" indent="0">
              <a:spcBef>
                <a:spcPts val="0"/>
              </a:spcBef>
              <a:spcAft>
                <a:spcPts val="0"/>
              </a:spcAft>
              <a:buNone/>
              <a:defRPr cap="none">
                <a:solidFill>
                  <a:schemeClr val="accent1"/>
                </a:solidFill>
                <a:latin typeface="Merck" panose="04040805020F02020302" pitchFamily="82" charset="0"/>
              </a:defRPr>
            </a:lvl3pPr>
            <a:lvl4pPr marL="0" indent="0">
              <a:spcBef>
                <a:spcPts val="0"/>
              </a:spcBef>
              <a:spcAft>
                <a:spcPts val="0"/>
              </a:spcAft>
              <a:buNone/>
              <a:defRPr cap="none">
                <a:solidFill>
                  <a:schemeClr val="accent1"/>
                </a:solidFill>
                <a:latin typeface="Merck" panose="04040805020F02020302" pitchFamily="82" charset="0"/>
              </a:defRPr>
            </a:lvl4pPr>
            <a:lvl5pPr marL="0" indent="0">
              <a:spcBef>
                <a:spcPts val="0"/>
              </a:spcBef>
              <a:spcAft>
                <a:spcPts val="0"/>
              </a:spcAft>
              <a:buNone/>
              <a:defRPr cap="none">
                <a:solidFill>
                  <a:schemeClr val="accent1"/>
                </a:solidFill>
                <a:latin typeface="Merck" panose="04040805020F02020302" pitchFamily="82" charset="0"/>
              </a:defRPr>
            </a:lvl5pPr>
            <a:lvl6pPr marL="0" indent="0">
              <a:spcBef>
                <a:spcPts val="0"/>
              </a:spcBef>
              <a:spcAft>
                <a:spcPts val="0"/>
              </a:spcAft>
              <a:buNone/>
              <a:defRPr cap="none">
                <a:solidFill>
                  <a:schemeClr val="accent1"/>
                </a:solidFill>
                <a:latin typeface="Merck" panose="04040805020F02020302" pitchFamily="82" charset="0"/>
              </a:defRPr>
            </a:lvl6pPr>
            <a:lvl7pPr marL="0" indent="0">
              <a:spcBef>
                <a:spcPts val="0"/>
              </a:spcBef>
              <a:spcAft>
                <a:spcPts val="0"/>
              </a:spcAft>
              <a:buNone/>
              <a:defRPr cap="none">
                <a:solidFill>
                  <a:schemeClr val="accent1"/>
                </a:solidFill>
                <a:latin typeface="Merck" panose="04040805020F02020302" pitchFamily="82" charset="0"/>
              </a:defRPr>
            </a:lvl7pPr>
            <a:lvl8pPr marL="0" indent="0">
              <a:spcBef>
                <a:spcPts val="0"/>
              </a:spcBef>
              <a:spcAft>
                <a:spcPts val="0"/>
              </a:spcAft>
              <a:buNone/>
              <a:defRPr cap="none">
                <a:solidFill>
                  <a:schemeClr val="accent1"/>
                </a:solidFill>
                <a:latin typeface="Merck" panose="04040805020F02020302" pitchFamily="82" charset="0"/>
              </a:defRPr>
            </a:lvl8pPr>
            <a:lvl9pPr marL="0" indent="0">
              <a:spcBef>
                <a:spcPts val="0"/>
              </a:spcBef>
              <a:spcAft>
                <a:spcPts val="0"/>
              </a:spcAft>
              <a:buNone/>
              <a:defRPr cap="none">
                <a:solidFill>
                  <a:schemeClr val="accent1"/>
                </a:solidFill>
                <a:latin typeface="Merck" panose="04040805020F02020302" pitchFamily="82" charset="0"/>
              </a:defRPr>
            </a:lvl9pPr>
          </a:lstStyle>
          <a:p>
            <a:pPr lvl="0"/>
            <a:r>
              <a:rPr lang="en-US" noProof="0"/>
              <a:t>Contact (Please edit)</a:t>
            </a:r>
          </a:p>
        </p:txBody>
      </p:sp>
      <p:sp>
        <p:nvSpPr>
          <p:cNvPr id="15" name="Text Placeholder AP2 Name"/>
          <p:cNvSpPr>
            <a:spLocks noGrp="1"/>
          </p:cNvSpPr>
          <p:nvPr>
            <p:ph type="body" sz="quarter" idx="20" hasCustomPrompt="1"/>
          </p:nvPr>
        </p:nvSpPr>
        <p:spPr bwMode="gray">
          <a:xfrm>
            <a:off x="624114" y="3932953"/>
            <a:ext cx="2735501" cy="432048"/>
          </a:xfrm>
          <a:prstGeom prst="rect">
            <a:avLst/>
          </a:prstGeom>
        </p:spPr>
        <p:txBody>
          <a:bodyPr vert="horz" lIns="0" tIns="36000" rIns="0" bIns="0" rtlCol="0" anchor="b" anchorCtr="0">
            <a:noAutofit/>
          </a:bodyPr>
          <a:lstStyle>
            <a:lvl1pPr marL="0" indent="0">
              <a:spcBef>
                <a:spcPts val="0"/>
              </a:spcBef>
              <a:spcAft>
                <a:spcPts val="0"/>
              </a:spcAft>
              <a:buFont typeface="Arial" panose="020B0604020202020204" pitchFamily="34" charset="0"/>
              <a:buNone/>
              <a:defRPr lang="en-US" sz="1400" b="0" i="0" cap="none" baseline="0" noProof="0" dirty="0" smtClean="0">
                <a:solidFill>
                  <a:schemeClr val="accent1"/>
                </a:solidFill>
                <a:latin typeface="Merck" panose="04040805020F02020302" pitchFamily="82" charset="0"/>
              </a:defRPr>
            </a:lvl1pPr>
            <a:lvl2pPr marL="0" indent="0">
              <a:spcBef>
                <a:spcPts val="0"/>
              </a:spcBef>
              <a:spcAft>
                <a:spcPts val="0"/>
              </a:spcAft>
              <a:buNone/>
              <a:defRPr sz="1400" cap="none">
                <a:solidFill>
                  <a:schemeClr val="accent1"/>
                </a:solidFill>
                <a:latin typeface="Merck" panose="04040805020F02020302" pitchFamily="82" charset="0"/>
              </a:defRPr>
            </a:lvl2pPr>
            <a:lvl3pPr marL="0" indent="0">
              <a:spcBef>
                <a:spcPts val="0"/>
              </a:spcBef>
              <a:spcAft>
                <a:spcPts val="0"/>
              </a:spcAft>
              <a:buNone/>
              <a:defRPr sz="1400" cap="none">
                <a:solidFill>
                  <a:schemeClr val="accent1"/>
                </a:solidFill>
                <a:latin typeface="Merck" panose="04040805020F02020302" pitchFamily="82" charset="0"/>
              </a:defRPr>
            </a:lvl3pPr>
            <a:lvl4pPr marL="0" indent="0">
              <a:spcBef>
                <a:spcPts val="0"/>
              </a:spcBef>
              <a:spcAft>
                <a:spcPts val="0"/>
              </a:spcAft>
              <a:buNone/>
              <a:defRPr sz="1400" cap="none">
                <a:solidFill>
                  <a:schemeClr val="accent1"/>
                </a:solidFill>
                <a:latin typeface="Merck" panose="04040805020F02020302" pitchFamily="82" charset="0"/>
              </a:defRPr>
            </a:lvl4pPr>
            <a:lvl5pPr marL="0" indent="0">
              <a:spcBef>
                <a:spcPts val="0"/>
              </a:spcBef>
              <a:spcAft>
                <a:spcPts val="0"/>
              </a:spcAft>
              <a:buNone/>
              <a:defRPr sz="1400" cap="none">
                <a:solidFill>
                  <a:schemeClr val="accent1"/>
                </a:solidFill>
                <a:latin typeface="Merck" panose="04040805020F02020302" pitchFamily="82" charset="0"/>
              </a:defRPr>
            </a:lvl5pPr>
            <a:lvl6pPr marL="0" indent="0">
              <a:spcBef>
                <a:spcPts val="0"/>
              </a:spcBef>
              <a:spcAft>
                <a:spcPts val="0"/>
              </a:spcAft>
              <a:buNone/>
              <a:defRPr sz="1400" cap="none">
                <a:solidFill>
                  <a:schemeClr val="accent1"/>
                </a:solidFill>
                <a:latin typeface="Merck" panose="04040805020F02020302" pitchFamily="82" charset="0"/>
              </a:defRPr>
            </a:lvl6pPr>
            <a:lvl7pPr marL="0" indent="0">
              <a:spcBef>
                <a:spcPts val="0"/>
              </a:spcBef>
              <a:spcAft>
                <a:spcPts val="0"/>
              </a:spcAft>
              <a:buNone/>
              <a:defRPr sz="1400" cap="none">
                <a:solidFill>
                  <a:schemeClr val="accent1"/>
                </a:solidFill>
                <a:latin typeface="Merck" panose="04040805020F02020302" pitchFamily="82" charset="0"/>
              </a:defRPr>
            </a:lvl7pPr>
            <a:lvl8pPr marL="0" indent="0">
              <a:spcBef>
                <a:spcPts val="0"/>
              </a:spcBef>
              <a:spcAft>
                <a:spcPts val="0"/>
              </a:spcAft>
              <a:buNone/>
              <a:defRPr sz="1400" cap="none">
                <a:solidFill>
                  <a:schemeClr val="accent1"/>
                </a:solidFill>
                <a:latin typeface="Merck" panose="04040805020F02020302" pitchFamily="82" charset="0"/>
              </a:defRPr>
            </a:lvl8pPr>
            <a:lvl9pPr marL="0" indent="0">
              <a:spcBef>
                <a:spcPts val="0"/>
              </a:spcBef>
              <a:spcAft>
                <a:spcPts val="0"/>
              </a:spcAft>
              <a:buNone/>
              <a:defRPr sz="1400" cap="none">
                <a:solidFill>
                  <a:schemeClr val="accent1"/>
                </a:solidFill>
                <a:latin typeface="Merck" panose="04040805020F02020302" pitchFamily="82" charset="0"/>
              </a:defRPr>
            </a:lvl9pPr>
          </a:lstStyle>
          <a:p>
            <a:pPr lvl="0"/>
            <a:r>
              <a:rPr lang="en-US" noProof="0"/>
              <a:t>Contact (Please edit)</a:t>
            </a:r>
          </a:p>
        </p:txBody>
      </p:sp>
      <p:sp>
        <p:nvSpPr>
          <p:cNvPr id="16" name="Text Placeholder AP1 Name"/>
          <p:cNvSpPr>
            <a:spLocks noGrp="1"/>
          </p:cNvSpPr>
          <p:nvPr>
            <p:ph type="body" sz="quarter" idx="10" hasCustomPrompt="1"/>
          </p:nvPr>
        </p:nvSpPr>
        <p:spPr bwMode="gray">
          <a:xfrm>
            <a:off x="624001" y="1556952"/>
            <a:ext cx="2735501" cy="432048"/>
          </a:xfrm>
          <a:prstGeom prst="rect">
            <a:avLst/>
          </a:prstGeom>
        </p:spPr>
        <p:txBody>
          <a:bodyPr anchor="b" anchorCtr="0"/>
          <a:lstStyle>
            <a:lvl1pPr marL="0" indent="0">
              <a:spcBef>
                <a:spcPts val="0"/>
              </a:spcBef>
              <a:spcAft>
                <a:spcPts val="0"/>
              </a:spcAft>
              <a:buFont typeface="Arial" panose="020B0604020202020204" pitchFamily="34" charset="0"/>
              <a:buNone/>
              <a:defRPr lang="en-US" sz="1400" b="0" i="0" kern="1200" cap="none" baseline="0" noProof="0" dirty="0" smtClean="0">
                <a:solidFill>
                  <a:schemeClr val="accent1"/>
                </a:solidFill>
                <a:latin typeface="Merck" panose="04040805020F02020302" pitchFamily="82" charset="0"/>
                <a:ea typeface="Verdana" panose="020B0604030504040204" pitchFamily="34" charset="0"/>
                <a:cs typeface="Verdana" panose="020B0604030504040204" pitchFamily="34" charset="0"/>
              </a:defRPr>
            </a:lvl1pPr>
            <a:lvl2pPr marL="0" indent="0">
              <a:spcBef>
                <a:spcPts val="0"/>
              </a:spcBef>
              <a:spcAft>
                <a:spcPts val="0"/>
              </a:spcAft>
              <a:buNone/>
              <a:defRPr sz="1400" cap="none">
                <a:solidFill>
                  <a:schemeClr val="accent1"/>
                </a:solidFill>
                <a:latin typeface="Merck" panose="04040805020F02020302" pitchFamily="82" charset="0"/>
              </a:defRPr>
            </a:lvl2pPr>
            <a:lvl3pPr marL="0" indent="0">
              <a:spcBef>
                <a:spcPts val="0"/>
              </a:spcBef>
              <a:spcAft>
                <a:spcPts val="0"/>
              </a:spcAft>
              <a:buNone/>
              <a:defRPr sz="1400" cap="none">
                <a:solidFill>
                  <a:schemeClr val="accent1"/>
                </a:solidFill>
                <a:latin typeface="Merck" panose="04040805020F02020302" pitchFamily="82" charset="0"/>
              </a:defRPr>
            </a:lvl3pPr>
            <a:lvl4pPr marL="0" indent="0">
              <a:spcBef>
                <a:spcPts val="0"/>
              </a:spcBef>
              <a:spcAft>
                <a:spcPts val="0"/>
              </a:spcAft>
              <a:buNone/>
              <a:defRPr sz="1400" cap="none">
                <a:solidFill>
                  <a:schemeClr val="accent1"/>
                </a:solidFill>
                <a:latin typeface="Merck" panose="04040805020F02020302" pitchFamily="82" charset="0"/>
              </a:defRPr>
            </a:lvl4pPr>
            <a:lvl5pPr marL="0" indent="0">
              <a:spcBef>
                <a:spcPts val="0"/>
              </a:spcBef>
              <a:spcAft>
                <a:spcPts val="0"/>
              </a:spcAft>
              <a:buNone/>
              <a:defRPr sz="1400" cap="none">
                <a:solidFill>
                  <a:schemeClr val="accent1"/>
                </a:solidFill>
                <a:latin typeface="Merck" panose="04040805020F02020302" pitchFamily="82" charset="0"/>
              </a:defRPr>
            </a:lvl5pPr>
            <a:lvl6pPr marL="0" indent="0">
              <a:spcBef>
                <a:spcPts val="0"/>
              </a:spcBef>
              <a:spcAft>
                <a:spcPts val="0"/>
              </a:spcAft>
              <a:buNone/>
              <a:defRPr sz="1400" cap="none">
                <a:solidFill>
                  <a:schemeClr val="accent1"/>
                </a:solidFill>
                <a:latin typeface="Merck" panose="04040805020F02020302" pitchFamily="82" charset="0"/>
              </a:defRPr>
            </a:lvl6pPr>
            <a:lvl7pPr marL="0" indent="0">
              <a:spcBef>
                <a:spcPts val="0"/>
              </a:spcBef>
              <a:spcAft>
                <a:spcPts val="0"/>
              </a:spcAft>
              <a:buNone/>
              <a:defRPr sz="1400" cap="none">
                <a:solidFill>
                  <a:schemeClr val="accent1"/>
                </a:solidFill>
                <a:latin typeface="Merck" panose="04040805020F02020302" pitchFamily="82" charset="0"/>
              </a:defRPr>
            </a:lvl7pPr>
            <a:lvl8pPr marL="0" indent="0">
              <a:spcBef>
                <a:spcPts val="0"/>
              </a:spcBef>
              <a:spcAft>
                <a:spcPts val="0"/>
              </a:spcAft>
              <a:buNone/>
              <a:defRPr sz="1400" cap="none">
                <a:solidFill>
                  <a:schemeClr val="accent1"/>
                </a:solidFill>
                <a:latin typeface="Merck" panose="04040805020F02020302" pitchFamily="82" charset="0"/>
              </a:defRPr>
            </a:lvl8pPr>
            <a:lvl9pPr marL="0" indent="0">
              <a:spcBef>
                <a:spcPts val="0"/>
              </a:spcBef>
              <a:spcAft>
                <a:spcPts val="0"/>
              </a:spcAft>
              <a:buNone/>
              <a:defRPr sz="1400" cap="none">
                <a:solidFill>
                  <a:schemeClr val="accent1"/>
                </a:solidFill>
                <a:latin typeface="Merck" panose="04040805020F02020302" pitchFamily="82" charset="0"/>
              </a:defRPr>
            </a:lvl9pPr>
          </a:lstStyle>
          <a:p>
            <a:pPr lvl="0"/>
            <a:r>
              <a:rPr lang="en-US" noProof="0"/>
              <a:t>Contact (Please edit)</a:t>
            </a:r>
          </a:p>
        </p:txBody>
      </p:sp>
    </p:spTree>
    <p:extLst>
      <p:ext uri="{BB962C8B-B14F-4D97-AF65-F5344CB8AC3E}">
        <p14:creationId xmlns:p14="http://schemas.microsoft.com/office/powerpoint/2010/main" val="7591751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act | 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4" name="Rectangle 13"/>
          <p:cNvSpPr/>
          <p:nvPr userDrawn="1"/>
        </p:nvSpPr>
        <p:spPr bwMode="gray">
          <a:xfrm>
            <a:off x="1" y="0"/>
            <a:ext cx="12192000" cy="6858001"/>
          </a:xfrm>
          <a:prstGeom prst="rect">
            <a:avLst/>
          </a:prstGeom>
          <a:solidFill>
            <a:schemeClr val="accent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12" name="Text Placeholder AP3 Details"/>
          <p:cNvSpPr>
            <a:spLocks noGrp="1"/>
          </p:cNvSpPr>
          <p:nvPr>
            <p:ph type="body" sz="quarter" idx="25" hasCustomPrompt="1"/>
          </p:nvPr>
        </p:nvSpPr>
        <p:spPr bwMode="gray">
          <a:xfrm>
            <a:off x="3504000" y="4364999"/>
            <a:ext cx="2735999" cy="1727825"/>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bg2"/>
                </a:solidFill>
              </a:defRPr>
            </a:lvl2pPr>
            <a:lvl3pPr marL="0" indent="0">
              <a:spcBef>
                <a:spcPts val="0"/>
              </a:spcBef>
              <a:buFontTx/>
              <a:buNone/>
              <a:defRPr sz="1200">
                <a:solidFill>
                  <a:schemeClr val="bg2"/>
                </a:solidFill>
              </a:defRPr>
            </a:lvl3pPr>
            <a:lvl4pPr marL="0" indent="0">
              <a:spcBef>
                <a:spcPts val="0"/>
              </a:spcBef>
              <a:buFontTx/>
              <a:buNone/>
              <a:defRPr sz="1200" baseline="0">
                <a:solidFill>
                  <a:schemeClr val="bg2"/>
                </a:solidFill>
              </a:defRPr>
            </a:lvl4pPr>
            <a:lvl5pPr marL="0" indent="0">
              <a:spcBef>
                <a:spcPts val="0"/>
              </a:spcBef>
              <a:buFontTx/>
              <a:buNone/>
              <a:defRPr sz="1200">
                <a:solidFill>
                  <a:schemeClr val="bg2"/>
                </a:solidFill>
              </a:defRPr>
            </a:lvl5pPr>
            <a:lvl6pPr marL="0" indent="0">
              <a:spcBef>
                <a:spcPts val="0"/>
              </a:spcBef>
              <a:buFontTx/>
              <a:buNone/>
              <a:defRPr sz="1200">
                <a:solidFill>
                  <a:schemeClr val="bg2"/>
                </a:solidFill>
              </a:defRPr>
            </a:lvl6pPr>
            <a:lvl7pPr marL="0" indent="0">
              <a:spcBef>
                <a:spcPts val="0"/>
              </a:spcBef>
              <a:buFontTx/>
              <a:buNone/>
              <a:defRPr sz="1200">
                <a:solidFill>
                  <a:schemeClr val="bg2"/>
                </a:solidFill>
              </a:defRPr>
            </a:lvl7pPr>
            <a:lvl8pPr marL="0" indent="0">
              <a:spcBef>
                <a:spcPts val="0"/>
              </a:spcBef>
              <a:buNone/>
              <a:defRPr sz="1200">
                <a:solidFill>
                  <a:schemeClr val="bg2"/>
                </a:solidFill>
              </a:defRPr>
            </a:lvl8pPr>
            <a:lvl9pPr marL="0" indent="0">
              <a:spcBef>
                <a:spcPts val="0"/>
              </a:spcBef>
              <a:buNone/>
              <a:defRPr sz="1200">
                <a:solidFill>
                  <a:schemeClr val="bg2"/>
                </a:solidFill>
              </a:defRPr>
            </a:lvl9pPr>
          </a:lstStyle>
          <a:p>
            <a:pPr lvl="0"/>
            <a:r>
              <a:rPr lang="en-US" noProof="0"/>
              <a:t>Add your contact details here.</a:t>
            </a:r>
          </a:p>
        </p:txBody>
      </p:sp>
      <p:sp>
        <p:nvSpPr>
          <p:cNvPr id="17" name="Text Placeholder AP2 Details"/>
          <p:cNvSpPr>
            <a:spLocks noGrp="1"/>
          </p:cNvSpPr>
          <p:nvPr>
            <p:ph type="body" sz="quarter" idx="24" hasCustomPrompt="1"/>
          </p:nvPr>
        </p:nvSpPr>
        <p:spPr bwMode="gray">
          <a:xfrm>
            <a:off x="624001" y="4366124"/>
            <a:ext cx="2735501" cy="1727825"/>
          </a:xfrm>
          <a:prstGeom prst="rect">
            <a:avLst/>
          </a:prstGeom>
          <a:noFill/>
        </p:spPr>
        <p:txBody>
          <a:bodyPr vert="horz" lIns="0" tIns="0" rIns="0" bIns="0" rtlCol="0" anchor="t" anchorCtr="0">
            <a:noAutofit/>
          </a:bodyPr>
          <a:lstStyle>
            <a:lvl1pPr>
              <a:spcBef>
                <a:spcPts val="0"/>
              </a:spcBef>
              <a:buClr>
                <a:srgbClr val="52328F"/>
              </a:buClr>
              <a:defRPr lang="de-DE" sz="1200" b="0" kern="1200" baseline="0" dirty="0"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bg2"/>
                </a:solidFill>
              </a:defRPr>
            </a:lvl2pPr>
            <a:lvl3pPr marL="0" indent="0">
              <a:spcBef>
                <a:spcPts val="0"/>
              </a:spcBef>
              <a:buFontTx/>
              <a:buNone/>
              <a:defRPr sz="1200">
                <a:solidFill>
                  <a:schemeClr val="bg2"/>
                </a:solidFill>
              </a:defRPr>
            </a:lvl3pPr>
            <a:lvl4pPr marL="0" indent="0">
              <a:spcBef>
                <a:spcPts val="0"/>
              </a:spcBef>
              <a:buFontTx/>
              <a:buNone/>
              <a:defRPr sz="1200" baseline="0">
                <a:solidFill>
                  <a:schemeClr val="bg2"/>
                </a:solidFill>
              </a:defRPr>
            </a:lvl4pPr>
            <a:lvl5pPr marL="0" indent="0">
              <a:spcBef>
                <a:spcPts val="0"/>
              </a:spcBef>
              <a:buFontTx/>
              <a:buNone/>
              <a:defRPr sz="1200">
                <a:solidFill>
                  <a:schemeClr val="bg2"/>
                </a:solidFill>
              </a:defRPr>
            </a:lvl5pPr>
            <a:lvl6pPr marL="0" indent="0">
              <a:spcBef>
                <a:spcPts val="0"/>
              </a:spcBef>
              <a:buFontTx/>
              <a:buNone/>
              <a:defRPr sz="1200">
                <a:solidFill>
                  <a:schemeClr val="bg2"/>
                </a:solidFill>
              </a:defRPr>
            </a:lvl6pPr>
            <a:lvl7pPr marL="0" indent="0">
              <a:spcBef>
                <a:spcPts val="0"/>
              </a:spcBef>
              <a:buFontTx/>
              <a:buNone/>
              <a:defRPr sz="1200">
                <a:solidFill>
                  <a:schemeClr val="bg2"/>
                </a:solidFill>
              </a:defRPr>
            </a:lvl7pPr>
            <a:lvl8pPr marL="0" indent="0">
              <a:spcBef>
                <a:spcPts val="0"/>
              </a:spcBef>
              <a:buNone/>
              <a:defRPr sz="1200">
                <a:solidFill>
                  <a:schemeClr val="bg2"/>
                </a:solidFill>
              </a:defRPr>
            </a:lvl8pPr>
            <a:lvl9pPr marL="0" indent="0">
              <a:spcBef>
                <a:spcPts val="0"/>
              </a:spcBef>
              <a:buNone/>
              <a:defRPr sz="1200">
                <a:solidFill>
                  <a:schemeClr val="bg2"/>
                </a:solidFill>
              </a:defRPr>
            </a:lvl9pPr>
          </a:lstStyle>
          <a:p>
            <a:pPr lvl="0"/>
            <a:r>
              <a:rPr lang="en-US" noProof="0"/>
              <a:t>Add your contact details here.</a:t>
            </a:r>
          </a:p>
        </p:txBody>
      </p:sp>
      <p:sp>
        <p:nvSpPr>
          <p:cNvPr id="19" name="Text Placeholder AP1 Details"/>
          <p:cNvSpPr>
            <a:spLocks noGrp="1"/>
          </p:cNvSpPr>
          <p:nvPr>
            <p:ph type="body" sz="quarter" idx="19" hasCustomPrompt="1"/>
          </p:nvPr>
        </p:nvSpPr>
        <p:spPr bwMode="gray">
          <a:xfrm>
            <a:off x="624092" y="1988999"/>
            <a:ext cx="2735410" cy="1727825"/>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bg2"/>
                </a:solidFill>
              </a:defRPr>
            </a:lvl2pPr>
            <a:lvl3pPr marL="0" indent="0">
              <a:spcBef>
                <a:spcPts val="0"/>
              </a:spcBef>
              <a:buFontTx/>
              <a:buNone/>
              <a:defRPr sz="1200">
                <a:solidFill>
                  <a:schemeClr val="bg2"/>
                </a:solidFill>
              </a:defRPr>
            </a:lvl3pPr>
            <a:lvl4pPr marL="0" indent="0">
              <a:spcBef>
                <a:spcPts val="0"/>
              </a:spcBef>
              <a:buFontTx/>
              <a:buNone/>
              <a:defRPr sz="1200" baseline="0">
                <a:solidFill>
                  <a:schemeClr val="bg2"/>
                </a:solidFill>
              </a:defRPr>
            </a:lvl4pPr>
            <a:lvl5pPr marL="0" indent="0">
              <a:spcBef>
                <a:spcPts val="0"/>
              </a:spcBef>
              <a:buFontTx/>
              <a:buNone/>
              <a:defRPr sz="1200">
                <a:solidFill>
                  <a:schemeClr val="bg2"/>
                </a:solidFill>
              </a:defRPr>
            </a:lvl5pPr>
            <a:lvl6pPr marL="0" indent="0">
              <a:spcBef>
                <a:spcPts val="0"/>
              </a:spcBef>
              <a:buFontTx/>
              <a:buNone/>
              <a:defRPr sz="1200">
                <a:solidFill>
                  <a:schemeClr val="bg2"/>
                </a:solidFill>
              </a:defRPr>
            </a:lvl6pPr>
            <a:lvl7pPr marL="0" indent="0">
              <a:spcBef>
                <a:spcPts val="0"/>
              </a:spcBef>
              <a:buFontTx/>
              <a:buNone/>
              <a:defRPr sz="1200">
                <a:solidFill>
                  <a:schemeClr val="bg2"/>
                </a:solidFill>
              </a:defRPr>
            </a:lvl7pPr>
            <a:lvl8pPr marL="0" indent="0">
              <a:spcBef>
                <a:spcPts val="0"/>
              </a:spcBef>
              <a:buNone/>
              <a:defRPr sz="1200">
                <a:solidFill>
                  <a:schemeClr val="bg2"/>
                </a:solidFill>
              </a:defRPr>
            </a:lvl8pPr>
            <a:lvl9pPr marL="0" indent="0">
              <a:spcBef>
                <a:spcPts val="0"/>
              </a:spcBef>
              <a:buNone/>
              <a:defRPr sz="1200">
                <a:solidFill>
                  <a:schemeClr val="bg2"/>
                </a:solidFill>
              </a:defRPr>
            </a:lvl9pPr>
          </a:lstStyle>
          <a:p>
            <a:pPr lvl="0"/>
            <a:r>
              <a:rPr lang="en-US" noProof="0"/>
              <a:t>Add your contact details here.</a:t>
            </a:r>
          </a:p>
        </p:txBody>
      </p:sp>
      <p:grpSp>
        <p:nvGrpSpPr>
          <p:cNvPr id="9" name="Logo Merck"/>
          <p:cNvGrpSpPr/>
          <p:nvPr userDrawn="1"/>
        </p:nvGrpSpPr>
        <p:grpSpPr bwMode="gray">
          <a:xfrm>
            <a:off x="7453808" y="4123208"/>
            <a:ext cx="4114800" cy="1970088"/>
            <a:chOff x="7453313" y="4122737"/>
            <a:chExt cx="4114800" cy="1970088"/>
          </a:xfrm>
        </p:grpSpPr>
        <p:sp>
          <p:nvSpPr>
            <p:cNvPr id="10" name="Freeform 6"/>
            <p:cNvSpPr>
              <a:spLocks noEditPoints="1"/>
            </p:cNvSpPr>
            <p:nvPr userDrawn="1"/>
          </p:nvSpPr>
          <p:spPr bwMode="gray">
            <a:xfrm>
              <a:off x="7453313" y="4122737"/>
              <a:ext cx="4114800" cy="1970088"/>
            </a:xfrm>
            <a:custGeom>
              <a:avLst/>
              <a:gdLst>
                <a:gd name="T0" fmla="*/ 13648 w 13648"/>
                <a:gd name="T1" fmla="*/ 961 h 6536"/>
                <a:gd name="T2" fmla="*/ 12687 w 13648"/>
                <a:gd name="T3" fmla="*/ 0 h 6536"/>
                <a:gd name="T4" fmla="*/ 11669 w 13648"/>
                <a:gd name="T5" fmla="*/ 0 h 6536"/>
                <a:gd name="T6" fmla="*/ 11538 w 13648"/>
                <a:gd name="T7" fmla="*/ 53 h 6536"/>
                <a:gd name="T8" fmla="*/ 9497 w 13648"/>
                <a:gd name="T9" fmla="*/ 1968 h 6536"/>
                <a:gd name="T10" fmla="*/ 6824 w 13648"/>
                <a:gd name="T11" fmla="*/ 2994 h 6536"/>
                <a:gd name="T12" fmla="*/ 4064 w 13648"/>
                <a:gd name="T13" fmla="*/ 1885 h 6536"/>
                <a:gd name="T14" fmla="*/ 2550 w 13648"/>
                <a:gd name="T15" fmla="*/ 463 h 6536"/>
                <a:gd name="T16" fmla="*/ 1410 w 13648"/>
                <a:gd name="T17" fmla="*/ 0 h 6536"/>
                <a:gd name="T18" fmla="*/ 192 w 13648"/>
                <a:gd name="T19" fmla="*/ 0 h 6536"/>
                <a:gd name="T20" fmla="*/ 0 w 13648"/>
                <a:gd name="T21" fmla="*/ 192 h 6536"/>
                <a:gd name="T22" fmla="*/ 0 w 13648"/>
                <a:gd name="T23" fmla="*/ 309 h 6536"/>
                <a:gd name="T24" fmla="*/ 127 w 13648"/>
                <a:gd name="T25" fmla="*/ 302 h 6536"/>
                <a:gd name="T26" fmla="*/ 2129 w 13648"/>
                <a:gd name="T27" fmla="*/ 2283 h 6536"/>
                <a:gd name="T28" fmla="*/ 127 w 13648"/>
                <a:gd name="T29" fmla="*/ 4263 h 6536"/>
                <a:gd name="T30" fmla="*/ 0 w 13648"/>
                <a:gd name="T31" fmla="*/ 4257 h 6536"/>
                <a:gd name="T32" fmla="*/ 0 w 13648"/>
                <a:gd name="T33" fmla="*/ 5575 h 6536"/>
                <a:gd name="T34" fmla="*/ 961 w 13648"/>
                <a:gd name="T35" fmla="*/ 6536 h 6536"/>
                <a:gd name="T36" fmla="*/ 1333 w 13648"/>
                <a:gd name="T37" fmla="*/ 6536 h 6536"/>
                <a:gd name="T38" fmla="*/ 1584 w 13648"/>
                <a:gd name="T39" fmla="*/ 6536 h 6536"/>
                <a:gd name="T40" fmla="*/ 1777 w 13648"/>
                <a:gd name="T41" fmla="*/ 6343 h 6536"/>
                <a:gd name="T42" fmla="*/ 1778 w 13648"/>
                <a:gd name="T43" fmla="*/ 4427 h 6536"/>
                <a:gd name="T44" fmla="*/ 2679 w 13648"/>
                <a:gd name="T45" fmla="*/ 3514 h 6536"/>
                <a:gd name="T46" fmla="*/ 4847 w 13648"/>
                <a:gd name="T47" fmla="*/ 4824 h 6536"/>
                <a:gd name="T48" fmla="*/ 6045 w 13648"/>
                <a:gd name="T49" fmla="*/ 5829 h 6536"/>
                <a:gd name="T50" fmla="*/ 7855 w 13648"/>
                <a:gd name="T51" fmla="*/ 3785 h 6536"/>
                <a:gd name="T52" fmla="*/ 10293 w 13648"/>
                <a:gd name="T53" fmla="*/ 3661 h 6536"/>
                <a:gd name="T54" fmla="*/ 10969 w 13648"/>
                <a:gd name="T55" fmla="*/ 3514 h 6536"/>
                <a:gd name="T56" fmla="*/ 11870 w 13648"/>
                <a:gd name="T57" fmla="*/ 4419 h 6536"/>
                <a:gd name="T58" fmla="*/ 11870 w 13648"/>
                <a:gd name="T59" fmla="*/ 5575 h 6536"/>
                <a:gd name="T60" fmla="*/ 12831 w 13648"/>
                <a:gd name="T61" fmla="*/ 6535 h 6536"/>
                <a:gd name="T62" fmla="*/ 13246 w 13648"/>
                <a:gd name="T63" fmla="*/ 6535 h 6536"/>
                <a:gd name="T64" fmla="*/ 13455 w 13648"/>
                <a:gd name="T65" fmla="*/ 6536 h 6536"/>
                <a:gd name="T66" fmla="*/ 13455 w 13648"/>
                <a:gd name="T67" fmla="*/ 6536 h 6536"/>
                <a:gd name="T68" fmla="*/ 13648 w 13648"/>
                <a:gd name="T69" fmla="*/ 6343 h 6536"/>
                <a:gd name="T70" fmla="*/ 13648 w 13648"/>
                <a:gd name="T71" fmla="*/ 6113 h 6536"/>
                <a:gd name="T72" fmla="*/ 13648 w 13648"/>
                <a:gd name="T73" fmla="*/ 961 h 6536"/>
                <a:gd name="T74" fmla="*/ 12632 w 13648"/>
                <a:gd name="T75" fmla="*/ 3226 h 6536"/>
                <a:gd name="T76" fmla="*/ 11729 w 13648"/>
                <a:gd name="T77" fmla="*/ 2572 h 6536"/>
                <a:gd name="T78" fmla="*/ 10751 w 13648"/>
                <a:gd name="T79" fmla="*/ 1902 h 6536"/>
                <a:gd name="T80" fmla="*/ 12481 w 13648"/>
                <a:gd name="T81" fmla="*/ 1838 h 6536"/>
                <a:gd name="T82" fmla="*/ 12632 w 13648"/>
                <a:gd name="T83" fmla="*/ 3226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648" h="6536">
                  <a:moveTo>
                    <a:pt x="13648" y="961"/>
                  </a:moveTo>
                  <a:cubicBezTo>
                    <a:pt x="13648" y="430"/>
                    <a:pt x="13218" y="0"/>
                    <a:pt x="12687" y="0"/>
                  </a:cubicBezTo>
                  <a:cubicBezTo>
                    <a:pt x="11669" y="0"/>
                    <a:pt x="11669" y="0"/>
                    <a:pt x="11669" y="0"/>
                  </a:cubicBezTo>
                  <a:cubicBezTo>
                    <a:pt x="11618" y="0"/>
                    <a:pt x="11572" y="20"/>
                    <a:pt x="11538" y="53"/>
                  </a:cubicBezTo>
                  <a:cubicBezTo>
                    <a:pt x="9497" y="1968"/>
                    <a:pt x="9497" y="1968"/>
                    <a:pt x="9497" y="1968"/>
                  </a:cubicBezTo>
                  <a:cubicBezTo>
                    <a:pt x="8799" y="2625"/>
                    <a:pt x="7858" y="2994"/>
                    <a:pt x="6824" y="2994"/>
                  </a:cubicBezTo>
                  <a:cubicBezTo>
                    <a:pt x="5746" y="2994"/>
                    <a:pt x="4771" y="2591"/>
                    <a:pt x="4064" y="1885"/>
                  </a:cubicBezTo>
                  <a:cubicBezTo>
                    <a:pt x="4064" y="1885"/>
                    <a:pt x="2564" y="476"/>
                    <a:pt x="2550" y="463"/>
                  </a:cubicBezTo>
                  <a:cubicBezTo>
                    <a:pt x="2262" y="195"/>
                    <a:pt x="1866" y="10"/>
                    <a:pt x="1410" y="0"/>
                  </a:cubicBezTo>
                  <a:cubicBezTo>
                    <a:pt x="192" y="0"/>
                    <a:pt x="192" y="0"/>
                    <a:pt x="192" y="0"/>
                  </a:cubicBezTo>
                  <a:cubicBezTo>
                    <a:pt x="86" y="0"/>
                    <a:pt x="0" y="86"/>
                    <a:pt x="0" y="192"/>
                  </a:cubicBezTo>
                  <a:cubicBezTo>
                    <a:pt x="0" y="309"/>
                    <a:pt x="0" y="309"/>
                    <a:pt x="0" y="309"/>
                  </a:cubicBezTo>
                  <a:cubicBezTo>
                    <a:pt x="42" y="306"/>
                    <a:pt x="84" y="302"/>
                    <a:pt x="127" y="302"/>
                  </a:cubicBezTo>
                  <a:cubicBezTo>
                    <a:pt x="1233" y="302"/>
                    <a:pt x="2129" y="1189"/>
                    <a:pt x="2129" y="2283"/>
                  </a:cubicBezTo>
                  <a:cubicBezTo>
                    <a:pt x="2129" y="3377"/>
                    <a:pt x="1233" y="4263"/>
                    <a:pt x="127" y="4263"/>
                  </a:cubicBezTo>
                  <a:cubicBezTo>
                    <a:pt x="84" y="4263"/>
                    <a:pt x="42" y="4259"/>
                    <a:pt x="0" y="4257"/>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8" y="4427"/>
                    <a:pt x="1778" y="4427"/>
                    <a:pt x="1778" y="4427"/>
                  </a:cubicBezTo>
                  <a:cubicBezTo>
                    <a:pt x="1778" y="3927"/>
                    <a:pt x="2186" y="3514"/>
                    <a:pt x="2679" y="3514"/>
                  </a:cubicBezTo>
                  <a:cubicBezTo>
                    <a:pt x="3595" y="3514"/>
                    <a:pt x="4253" y="4299"/>
                    <a:pt x="4847" y="4824"/>
                  </a:cubicBezTo>
                  <a:cubicBezTo>
                    <a:pt x="5285" y="5211"/>
                    <a:pt x="5663" y="5589"/>
                    <a:pt x="6045" y="5829"/>
                  </a:cubicBezTo>
                  <a:cubicBezTo>
                    <a:pt x="6051" y="5102"/>
                    <a:pt x="6768" y="4257"/>
                    <a:pt x="7855" y="3785"/>
                  </a:cubicBezTo>
                  <a:cubicBezTo>
                    <a:pt x="8772" y="3388"/>
                    <a:pt x="9702" y="3364"/>
                    <a:pt x="10293" y="3661"/>
                  </a:cubicBezTo>
                  <a:cubicBezTo>
                    <a:pt x="10502" y="3570"/>
                    <a:pt x="10726" y="3514"/>
                    <a:pt x="10969" y="3514"/>
                  </a:cubicBezTo>
                  <a:cubicBezTo>
                    <a:pt x="11459" y="3514"/>
                    <a:pt x="11865" y="3922"/>
                    <a:pt x="11870" y="4419"/>
                  </a:cubicBezTo>
                  <a:cubicBezTo>
                    <a:pt x="11870" y="4419"/>
                    <a:pt x="11870" y="5567"/>
                    <a:pt x="11870" y="5575"/>
                  </a:cubicBezTo>
                  <a:cubicBezTo>
                    <a:pt x="11870" y="6106"/>
                    <a:pt x="12300" y="6535"/>
                    <a:pt x="12831" y="6535"/>
                  </a:cubicBezTo>
                  <a:cubicBezTo>
                    <a:pt x="13246" y="6535"/>
                    <a:pt x="13246" y="6535"/>
                    <a:pt x="13246" y="6535"/>
                  </a:cubicBezTo>
                  <a:cubicBezTo>
                    <a:pt x="13355" y="6535"/>
                    <a:pt x="13455" y="6536"/>
                    <a:pt x="13455" y="6536"/>
                  </a:cubicBezTo>
                  <a:cubicBezTo>
                    <a:pt x="13455" y="6536"/>
                    <a:pt x="13455" y="6536"/>
                    <a:pt x="13455" y="6536"/>
                  </a:cubicBezTo>
                  <a:cubicBezTo>
                    <a:pt x="13562" y="6536"/>
                    <a:pt x="13648" y="6449"/>
                    <a:pt x="13648" y="6343"/>
                  </a:cubicBezTo>
                  <a:cubicBezTo>
                    <a:pt x="13648" y="6113"/>
                    <a:pt x="13648" y="6113"/>
                    <a:pt x="13648" y="6113"/>
                  </a:cubicBezTo>
                  <a:cubicBezTo>
                    <a:pt x="13648" y="5089"/>
                    <a:pt x="13648" y="1001"/>
                    <a:pt x="13648" y="961"/>
                  </a:cubicBezTo>
                  <a:close/>
                  <a:moveTo>
                    <a:pt x="12632" y="3226"/>
                  </a:moveTo>
                  <a:cubicBezTo>
                    <a:pt x="12484" y="3174"/>
                    <a:pt x="12284" y="3026"/>
                    <a:pt x="11729" y="2572"/>
                  </a:cubicBezTo>
                  <a:cubicBezTo>
                    <a:pt x="11174" y="2118"/>
                    <a:pt x="10351" y="2391"/>
                    <a:pt x="10751" y="1902"/>
                  </a:cubicBezTo>
                  <a:cubicBezTo>
                    <a:pt x="11151" y="1413"/>
                    <a:pt x="11926" y="1384"/>
                    <a:pt x="12481" y="1838"/>
                  </a:cubicBezTo>
                  <a:cubicBezTo>
                    <a:pt x="13036" y="2292"/>
                    <a:pt x="13229" y="3434"/>
                    <a:pt x="12632" y="3226"/>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7"/>
            <p:cNvSpPr>
              <a:spLocks/>
            </p:cNvSpPr>
            <p:nvPr userDrawn="1"/>
          </p:nvSpPr>
          <p:spPr bwMode="gray">
            <a:xfrm>
              <a:off x="7453313" y="4122737"/>
              <a:ext cx="4114800" cy="1970088"/>
            </a:xfrm>
            <a:custGeom>
              <a:avLst/>
              <a:gdLst>
                <a:gd name="T0" fmla="*/ 11932 w 13648"/>
                <a:gd name="T1" fmla="*/ 3358 h 6536"/>
                <a:gd name="T2" fmla="*/ 13648 w 13648"/>
                <a:gd name="T3" fmla="*/ 3699 h 6536"/>
                <a:gd name="T4" fmla="*/ 13648 w 13648"/>
                <a:gd name="T5" fmla="*/ 2168 h 6536"/>
                <a:gd name="T6" fmla="*/ 11489 w 13648"/>
                <a:gd name="T7" fmla="*/ 1768 h 6536"/>
                <a:gd name="T8" fmla="*/ 12716 w 13648"/>
                <a:gd name="T9" fmla="*/ 3 h 6536"/>
                <a:gd name="T10" fmla="*/ 12687 w 13648"/>
                <a:gd name="T11" fmla="*/ 0 h 6536"/>
                <a:gd name="T12" fmla="*/ 11669 w 13648"/>
                <a:gd name="T13" fmla="*/ 0 h 6536"/>
                <a:gd name="T14" fmla="*/ 11538 w 13648"/>
                <a:gd name="T15" fmla="*/ 53 h 6536"/>
                <a:gd name="T16" fmla="*/ 10298 w 13648"/>
                <a:gd name="T17" fmla="*/ 1217 h 6536"/>
                <a:gd name="T18" fmla="*/ 9293 w 13648"/>
                <a:gd name="T19" fmla="*/ 3115 h 6536"/>
                <a:gd name="T20" fmla="*/ 5182 w 13648"/>
                <a:gd name="T21" fmla="*/ 4321 h 6536"/>
                <a:gd name="T22" fmla="*/ 4569 w 13648"/>
                <a:gd name="T23" fmla="*/ 2303 h 6536"/>
                <a:gd name="T24" fmla="*/ 4064 w 13648"/>
                <a:gd name="T25" fmla="*/ 1885 h 6536"/>
                <a:gd name="T26" fmla="*/ 3466 w 13648"/>
                <a:gd name="T27" fmla="*/ 1323 h 6536"/>
                <a:gd name="T28" fmla="*/ 1362 w 13648"/>
                <a:gd name="T29" fmla="*/ 1511 h 6536"/>
                <a:gd name="T30" fmla="*/ 908 w 13648"/>
                <a:gd name="T31" fmla="*/ 0 h 6536"/>
                <a:gd name="T32" fmla="*/ 192 w 13648"/>
                <a:gd name="T33" fmla="*/ 0 h 6536"/>
                <a:gd name="T34" fmla="*/ 0 w 13648"/>
                <a:gd name="T35" fmla="*/ 192 h 6536"/>
                <a:gd name="T36" fmla="*/ 0 w 13648"/>
                <a:gd name="T37" fmla="*/ 5575 h 6536"/>
                <a:gd name="T38" fmla="*/ 961 w 13648"/>
                <a:gd name="T39" fmla="*/ 6536 h 6536"/>
                <a:gd name="T40" fmla="*/ 1333 w 13648"/>
                <a:gd name="T41" fmla="*/ 6536 h 6536"/>
                <a:gd name="T42" fmla="*/ 1584 w 13648"/>
                <a:gd name="T43" fmla="*/ 6536 h 6536"/>
                <a:gd name="T44" fmla="*/ 1777 w 13648"/>
                <a:gd name="T45" fmla="*/ 6343 h 6536"/>
                <a:gd name="T46" fmla="*/ 1777 w 13648"/>
                <a:gd name="T47" fmla="*/ 5509 h 6536"/>
                <a:gd name="T48" fmla="*/ 888 w 13648"/>
                <a:gd name="T49" fmla="*/ 5419 h 6536"/>
                <a:gd name="T50" fmla="*/ 1132 w 13648"/>
                <a:gd name="T51" fmla="*/ 3510 h 6536"/>
                <a:gd name="T52" fmla="*/ 2953 w 13648"/>
                <a:gd name="T53" fmla="*/ 2855 h 6536"/>
                <a:gd name="T54" fmla="*/ 3266 w 13648"/>
                <a:gd name="T55" fmla="*/ 3625 h 6536"/>
                <a:gd name="T56" fmla="*/ 4847 w 13648"/>
                <a:gd name="T57" fmla="*/ 4824 h 6536"/>
                <a:gd name="T58" fmla="*/ 6824 w 13648"/>
                <a:gd name="T59" fmla="*/ 6085 h 6536"/>
                <a:gd name="T60" fmla="*/ 8801 w 13648"/>
                <a:gd name="T61" fmla="*/ 4824 h 6536"/>
                <a:gd name="T62" fmla="*/ 10515 w 13648"/>
                <a:gd name="T63" fmla="*/ 3580 h 6536"/>
                <a:gd name="T64" fmla="*/ 10519 w 13648"/>
                <a:gd name="T65" fmla="*/ 3579 h 6536"/>
                <a:gd name="T66" fmla="*/ 11932 w 13648"/>
                <a:gd name="T67" fmla="*/ 3358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48" h="6536">
                  <a:moveTo>
                    <a:pt x="11932" y="3358"/>
                  </a:moveTo>
                  <a:cubicBezTo>
                    <a:pt x="12549" y="3358"/>
                    <a:pt x="13129" y="3483"/>
                    <a:pt x="13648" y="3699"/>
                  </a:cubicBezTo>
                  <a:cubicBezTo>
                    <a:pt x="13648" y="3162"/>
                    <a:pt x="13648" y="2624"/>
                    <a:pt x="13648" y="2168"/>
                  </a:cubicBezTo>
                  <a:cubicBezTo>
                    <a:pt x="12897" y="2341"/>
                    <a:pt x="11747" y="2453"/>
                    <a:pt x="11489" y="1768"/>
                  </a:cubicBezTo>
                  <a:cubicBezTo>
                    <a:pt x="11253" y="1142"/>
                    <a:pt x="11893" y="161"/>
                    <a:pt x="12716" y="3"/>
                  </a:cubicBezTo>
                  <a:cubicBezTo>
                    <a:pt x="12706" y="2"/>
                    <a:pt x="12697" y="0"/>
                    <a:pt x="12687" y="0"/>
                  </a:cubicBezTo>
                  <a:cubicBezTo>
                    <a:pt x="11669" y="0"/>
                    <a:pt x="11669" y="0"/>
                    <a:pt x="11669" y="0"/>
                  </a:cubicBezTo>
                  <a:cubicBezTo>
                    <a:pt x="11618" y="0"/>
                    <a:pt x="11572" y="20"/>
                    <a:pt x="11538" y="53"/>
                  </a:cubicBezTo>
                  <a:cubicBezTo>
                    <a:pt x="10298" y="1217"/>
                    <a:pt x="10298" y="1217"/>
                    <a:pt x="10298" y="1217"/>
                  </a:cubicBezTo>
                  <a:cubicBezTo>
                    <a:pt x="10132" y="1855"/>
                    <a:pt x="9794" y="2520"/>
                    <a:pt x="9293" y="3115"/>
                  </a:cubicBezTo>
                  <a:cubicBezTo>
                    <a:pt x="8033" y="4612"/>
                    <a:pt x="6154" y="5214"/>
                    <a:pt x="5182" y="4321"/>
                  </a:cubicBezTo>
                  <a:cubicBezTo>
                    <a:pt x="4669" y="3850"/>
                    <a:pt x="4468" y="3114"/>
                    <a:pt x="4569" y="2303"/>
                  </a:cubicBezTo>
                  <a:cubicBezTo>
                    <a:pt x="4390" y="2178"/>
                    <a:pt x="4219" y="2040"/>
                    <a:pt x="4064" y="1885"/>
                  </a:cubicBezTo>
                  <a:cubicBezTo>
                    <a:pt x="4064" y="1885"/>
                    <a:pt x="3784" y="1623"/>
                    <a:pt x="3466" y="1323"/>
                  </a:cubicBezTo>
                  <a:cubicBezTo>
                    <a:pt x="2590" y="2124"/>
                    <a:pt x="1943" y="2023"/>
                    <a:pt x="1362" y="1511"/>
                  </a:cubicBezTo>
                  <a:cubicBezTo>
                    <a:pt x="1086" y="1269"/>
                    <a:pt x="912" y="614"/>
                    <a:pt x="908" y="0"/>
                  </a:cubicBezTo>
                  <a:cubicBezTo>
                    <a:pt x="192" y="0"/>
                    <a:pt x="192" y="0"/>
                    <a:pt x="192" y="0"/>
                  </a:cubicBezTo>
                  <a:cubicBezTo>
                    <a:pt x="86" y="0"/>
                    <a:pt x="0" y="86"/>
                    <a:pt x="0" y="192"/>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7" y="5509"/>
                    <a:pt x="1777" y="5509"/>
                    <a:pt x="1777" y="5509"/>
                  </a:cubicBezTo>
                  <a:cubicBezTo>
                    <a:pt x="1435" y="5629"/>
                    <a:pt x="1123" y="5594"/>
                    <a:pt x="888" y="5419"/>
                  </a:cubicBezTo>
                  <a:cubicBezTo>
                    <a:pt x="469" y="5108"/>
                    <a:pt x="558" y="4229"/>
                    <a:pt x="1132" y="3510"/>
                  </a:cubicBezTo>
                  <a:cubicBezTo>
                    <a:pt x="1704" y="2759"/>
                    <a:pt x="2537" y="2539"/>
                    <a:pt x="2953" y="2855"/>
                  </a:cubicBezTo>
                  <a:cubicBezTo>
                    <a:pt x="3161" y="3012"/>
                    <a:pt x="3285" y="3285"/>
                    <a:pt x="3266" y="3625"/>
                  </a:cubicBezTo>
                  <a:cubicBezTo>
                    <a:pt x="3891" y="3860"/>
                    <a:pt x="4388" y="4418"/>
                    <a:pt x="4847" y="4824"/>
                  </a:cubicBezTo>
                  <a:cubicBezTo>
                    <a:pt x="5574" y="5466"/>
                    <a:pt x="6134" y="6085"/>
                    <a:pt x="6824" y="6085"/>
                  </a:cubicBezTo>
                  <a:cubicBezTo>
                    <a:pt x="7513" y="6085"/>
                    <a:pt x="8073" y="5466"/>
                    <a:pt x="8801" y="4824"/>
                  </a:cubicBezTo>
                  <a:cubicBezTo>
                    <a:pt x="9292" y="4390"/>
                    <a:pt x="9827" y="3779"/>
                    <a:pt x="10515" y="3580"/>
                  </a:cubicBezTo>
                  <a:cubicBezTo>
                    <a:pt x="10517" y="3580"/>
                    <a:pt x="10517" y="3580"/>
                    <a:pt x="10519" y="3579"/>
                  </a:cubicBezTo>
                  <a:cubicBezTo>
                    <a:pt x="10948" y="3445"/>
                    <a:pt x="11450" y="3358"/>
                    <a:pt x="11932" y="335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3" name="Text Placeholder AP3 Name"/>
          <p:cNvSpPr>
            <a:spLocks noGrp="1"/>
          </p:cNvSpPr>
          <p:nvPr>
            <p:ph type="body" sz="quarter" idx="21" hasCustomPrompt="1"/>
          </p:nvPr>
        </p:nvSpPr>
        <p:spPr bwMode="gray">
          <a:xfrm>
            <a:off x="3504621" y="3931827"/>
            <a:ext cx="2735501" cy="432048"/>
          </a:xfrm>
          <a:prstGeom prst="rect">
            <a:avLst/>
          </a:prstGeom>
        </p:spPr>
        <p:txBody>
          <a:bodyPr vert="horz" lIns="0" tIns="36000" rIns="0" bIns="0" rtlCol="0" anchor="b" anchorCtr="0">
            <a:normAutofit/>
          </a:bodyPr>
          <a:lstStyle>
            <a:lvl1pPr marL="0" indent="0">
              <a:spcBef>
                <a:spcPts val="0"/>
              </a:spcBef>
              <a:spcAft>
                <a:spcPts val="0"/>
              </a:spcAft>
              <a:buFont typeface="Arial" panose="020B0604020202020204" pitchFamily="34" charset="0"/>
              <a:buNone/>
              <a:defRPr lang="en-US" sz="1400" b="0" i="0" cap="none" baseline="0" noProof="0" dirty="0" smtClean="0">
                <a:solidFill>
                  <a:schemeClr val="bg2"/>
                </a:solidFill>
                <a:latin typeface="Merck" panose="04040805020F02020302" pitchFamily="82" charset="0"/>
              </a:defRPr>
            </a:lvl1pPr>
            <a:lvl2pPr marL="0" indent="0">
              <a:spcBef>
                <a:spcPts val="0"/>
              </a:spcBef>
              <a:spcAft>
                <a:spcPts val="0"/>
              </a:spcAft>
              <a:buNone/>
              <a:defRPr cap="none">
                <a:solidFill>
                  <a:schemeClr val="bg2"/>
                </a:solidFill>
                <a:latin typeface="Merck" panose="04040805020F02020302" pitchFamily="82" charset="0"/>
              </a:defRPr>
            </a:lvl2pPr>
            <a:lvl3pPr marL="0" indent="0">
              <a:spcBef>
                <a:spcPts val="0"/>
              </a:spcBef>
              <a:spcAft>
                <a:spcPts val="0"/>
              </a:spcAft>
              <a:buNone/>
              <a:defRPr cap="none">
                <a:solidFill>
                  <a:schemeClr val="bg2"/>
                </a:solidFill>
                <a:latin typeface="Merck" panose="04040805020F02020302" pitchFamily="82" charset="0"/>
              </a:defRPr>
            </a:lvl3pPr>
            <a:lvl4pPr marL="0" indent="0">
              <a:spcBef>
                <a:spcPts val="0"/>
              </a:spcBef>
              <a:spcAft>
                <a:spcPts val="0"/>
              </a:spcAft>
              <a:buNone/>
              <a:defRPr cap="none">
                <a:solidFill>
                  <a:schemeClr val="bg2"/>
                </a:solidFill>
                <a:latin typeface="Merck" panose="04040805020F02020302" pitchFamily="82" charset="0"/>
              </a:defRPr>
            </a:lvl4pPr>
            <a:lvl5pPr marL="0" indent="0">
              <a:spcBef>
                <a:spcPts val="0"/>
              </a:spcBef>
              <a:spcAft>
                <a:spcPts val="0"/>
              </a:spcAft>
              <a:buNone/>
              <a:defRPr cap="none">
                <a:solidFill>
                  <a:schemeClr val="bg2"/>
                </a:solidFill>
                <a:latin typeface="Merck" panose="04040805020F02020302" pitchFamily="82" charset="0"/>
              </a:defRPr>
            </a:lvl5pPr>
            <a:lvl6pPr marL="0" indent="0">
              <a:spcBef>
                <a:spcPts val="0"/>
              </a:spcBef>
              <a:spcAft>
                <a:spcPts val="0"/>
              </a:spcAft>
              <a:buNone/>
              <a:defRPr cap="none">
                <a:solidFill>
                  <a:schemeClr val="bg2"/>
                </a:solidFill>
                <a:latin typeface="Merck" panose="04040805020F02020302" pitchFamily="82" charset="0"/>
              </a:defRPr>
            </a:lvl6pPr>
            <a:lvl7pPr marL="0" indent="0">
              <a:spcBef>
                <a:spcPts val="0"/>
              </a:spcBef>
              <a:spcAft>
                <a:spcPts val="0"/>
              </a:spcAft>
              <a:buNone/>
              <a:defRPr cap="none">
                <a:solidFill>
                  <a:schemeClr val="bg2"/>
                </a:solidFill>
                <a:latin typeface="Merck" panose="04040805020F02020302" pitchFamily="82" charset="0"/>
              </a:defRPr>
            </a:lvl7pPr>
            <a:lvl8pPr marL="0" indent="0">
              <a:spcBef>
                <a:spcPts val="0"/>
              </a:spcBef>
              <a:spcAft>
                <a:spcPts val="0"/>
              </a:spcAft>
              <a:buNone/>
              <a:defRPr cap="none">
                <a:solidFill>
                  <a:schemeClr val="bg2"/>
                </a:solidFill>
                <a:latin typeface="Merck" panose="04040805020F02020302" pitchFamily="82" charset="0"/>
              </a:defRPr>
            </a:lvl8pPr>
            <a:lvl9pPr marL="0" indent="0">
              <a:spcBef>
                <a:spcPts val="0"/>
              </a:spcBef>
              <a:spcAft>
                <a:spcPts val="0"/>
              </a:spcAft>
              <a:buNone/>
              <a:defRPr cap="none">
                <a:solidFill>
                  <a:schemeClr val="bg2"/>
                </a:solidFill>
                <a:latin typeface="Merck" panose="04040805020F02020302" pitchFamily="82" charset="0"/>
              </a:defRPr>
            </a:lvl9pPr>
          </a:lstStyle>
          <a:p>
            <a:pPr lvl="0"/>
            <a:r>
              <a:rPr lang="en-US" noProof="0"/>
              <a:t>Contact (Please edit)</a:t>
            </a:r>
          </a:p>
        </p:txBody>
      </p:sp>
      <p:sp>
        <p:nvSpPr>
          <p:cNvPr id="15" name="Text Placeholder AP2 Name"/>
          <p:cNvSpPr>
            <a:spLocks noGrp="1"/>
          </p:cNvSpPr>
          <p:nvPr>
            <p:ph type="body" sz="quarter" idx="20" hasCustomPrompt="1"/>
          </p:nvPr>
        </p:nvSpPr>
        <p:spPr bwMode="gray">
          <a:xfrm>
            <a:off x="624114" y="3932953"/>
            <a:ext cx="2735501" cy="432048"/>
          </a:xfrm>
          <a:prstGeom prst="rect">
            <a:avLst/>
          </a:prstGeom>
        </p:spPr>
        <p:txBody>
          <a:bodyPr vert="horz" lIns="0" tIns="36000" rIns="0" bIns="0" rtlCol="0" anchor="b" anchorCtr="0">
            <a:noAutofit/>
          </a:bodyPr>
          <a:lstStyle>
            <a:lvl1pPr marL="0" indent="0">
              <a:spcBef>
                <a:spcPts val="0"/>
              </a:spcBef>
              <a:spcAft>
                <a:spcPts val="0"/>
              </a:spcAft>
              <a:buFont typeface="Arial" panose="020B0604020202020204" pitchFamily="34" charset="0"/>
              <a:buNone/>
              <a:defRPr lang="en-US" sz="1400" b="0" i="0" cap="none" baseline="0" noProof="0" dirty="0" smtClean="0">
                <a:solidFill>
                  <a:schemeClr val="bg2"/>
                </a:solidFill>
                <a:latin typeface="Merck" panose="04040805020F02020302" pitchFamily="82" charset="0"/>
              </a:defRPr>
            </a:lvl1pPr>
            <a:lvl2pPr marL="0" indent="0">
              <a:spcBef>
                <a:spcPts val="0"/>
              </a:spcBef>
              <a:spcAft>
                <a:spcPts val="0"/>
              </a:spcAft>
              <a:buNone/>
              <a:defRPr sz="1400" cap="none">
                <a:solidFill>
                  <a:schemeClr val="bg2"/>
                </a:solidFill>
                <a:latin typeface="Merck" panose="04040805020F02020302" pitchFamily="82" charset="0"/>
              </a:defRPr>
            </a:lvl2pPr>
            <a:lvl3pPr marL="0" indent="0">
              <a:spcBef>
                <a:spcPts val="0"/>
              </a:spcBef>
              <a:spcAft>
                <a:spcPts val="0"/>
              </a:spcAft>
              <a:buNone/>
              <a:defRPr sz="1400" cap="none">
                <a:solidFill>
                  <a:schemeClr val="bg2"/>
                </a:solidFill>
                <a:latin typeface="Merck" panose="04040805020F02020302" pitchFamily="82" charset="0"/>
              </a:defRPr>
            </a:lvl3pPr>
            <a:lvl4pPr marL="0" indent="0">
              <a:spcBef>
                <a:spcPts val="0"/>
              </a:spcBef>
              <a:spcAft>
                <a:spcPts val="0"/>
              </a:spcAft>
              <a:buNone/>
              <a:defRPr sz="1400" cap="none">
                <a:solidFill>
                  <a:schemeClr val="bg2"/>
                </a:solidFill>
                <a:latin typeface="Merck" panose="04040805020F02020302" pitchFamily="82" charset="0"/>
              </a:defRPr>
            </a:lvl4pPr>
            <a:lvl5pPr marL="0" indent="0">
              <a:spcBef>
                <a:spcPts val="0"/>
              </a:spcBef>
              <a:spcAft>
                <a:spcPts val="0"/>
              </a:spcAft>
              <a:buNone/>
              <a:defRPr sz="1400" cap="none">
                <a:solidFill>
                  <a:schemeClr val="bg2"/>
                </a:solidFill>
                <a:latin typeface="Merck" panose="04040805020F02020302" pitchFamily="82" charset="0"/>
              </a:defRPr>
            </a:lvl5pPr>
            <a:lvl6pPr marL="0" indent="0">
              <a:spcBef>
                <a:spcPts val="0"/>
              </a:spcBef>
              <a:spcAft>
                <a:spcPts val="0"/>
              </a:spcAft>
              <a:buNone/>
              <a:defRPr sz="1400" cap="none">
                <a:solidFill>
                  <a:schemeClr val="bg2"/>
                </a:solidFill>
                <a:latin typeface="Merck" panose="04040805020F02020302" pitchFamily="82" charset="0"/>
              </a:defRPr>
            </a:lvl6pPr>
            <a:lvl7pPr marL="0" indent="0">
              <a:spcBef>
                <a:spcPts val="0"/>
              </a:spcBef>
              <a:spcAft>
                <a:spcPts val="0"/>
              </a:spcAft>
              <a:buNone/>
              <a:defRPr sz="1400" cap="none">
                <a:solidFill>
                  <a:schemeClr val="bg2"/>
                </a:solidFill>
                <a:latin typeface="Merck" panose="04040805020F02020302" pitchFamily="82" charset="0"/>
              </a:defRPr>
            </a:lvl7pPr>
            <a:lvl8pPr marL="0" indent="0">
              <a:spcBef>
                <a:spcPts val="0"/>
              </a:spcBef>
              <a:spcAft>
                <a:spcPts val="0"/>
              </a:spcAft>
              <a:buNone/>
              <a:defRPr sz="1400" cap="none">
                <a:solidFill>
                  <a:schemeClr val="bg2"/>
                </a:solidFill>
                <a:latin typeface="Merck" panose="04040805020F02020302" pitchFamily="82" charset="0"/>
              </a:defRPr>
            </a:lvl8pPr>
            <a:lvl9pPr marL="0" indent="0">
              <a:spcBef>
                <a:spcPts val="0"/>
              </a:spcBef>
              <a:spcAft>
                <a:spcPts val="0"/>
              </a:spcAft>
              <a:buNone/>
              <a:defRPr sz="1400" cap="none">
                <a:solidFill>
                  <a:schemeClr val="bg2"/>
                </a:solidFill>
                <a:latin typeface="Merck" panose="04040805020F02020302" pitchFamily="82" charset="0"/>
              </a:defRPr>
            </a:lvl9pPr>
          </a:lstStyle>
          <a:p>
            <a:pPr lvl="0"/>
            <a:r>
              <a:rPr lang="en-US" noProof="0"/>
              <a:t>Contact (Please edit)</a:t>
            </a:r>
          </a:p>
        </p:txBody>
      </p:sp>
      <p:sp>
        <p:nvSpPr>
          <p:cNvPr id="16" name="Text Placeholder AP1 Name"/>
          <p:cNvSpPr>
            <a:spLocks noGrp="1"/>
          </p:cNvSpPr>
          <p:nvPr>
            <p:ph type="body" sz="quarter" idx="10" hasCustomPrompt="1"/>
          </p:nvPr>
        </p:nvSpPr>
        <p:spPr bwMode="gray">
          <a:xfrm>
            <a:off x="624001" y="1556952"/>
            <a:ext cx="2735501" cy="432048"/>
          </a:xfrm>
          <a:prstGeom prst="rect">
            <a:avLst/>
          </a:prstGeom>
        </p:spPr>
        <p:txBody>
          <a:bodyPr anchor="b" anchorCtr="0"/>
          <a:lstStyle>
            <a:lvl1pPr marL="0" indent="0">
              <a:spcBef>
                <a:spcPts val="0"/>
              </a:spcBef>
              <a:spcAft>
                <a:spcPts val="0"/>
              </a:spcAft>
              <a:buFont typeface="Arial" panose="020B0604020202020204" pitchFamily="34" charset="0"/>
              <a:buNone/>
              <a:defRPr lang="en-US" sz="1400" b="0" i="0" kern="1200" cap="none" baseline="0" noProof="0" dirty="0" smtClean="0">
                <a:solidFill>
                  <a:schemeClr val="bg2"/>
                </a:solidFill>
                <a:latin typeface="Merck" panose="04040805020F02020302" pitchFamily="82" charset="0"/>
                <a:ea typeface="Verdana" panose="020B0604030504040204" pitchFamily="34" charset="0"/>
                <a:cs typeface="Verdana" panose="020B0604030504040204" pitchFamily="34" charset="0"/>
              </a:defRPr>
            </a:lvl1pPr>
            <a:lvl2pPr marL="0" indent="0">
              <a:spcBef>
                <a:spcPts val="0"/>
              </a:spcBef>
              <a:spcAft>
                <a:spcPts val="0"/>
              </a:spcAft>
              <a:buNone/>
              <a:defRPr sz="1400" cap="none">
                <a:solidFill>
                  <a:schemeClr val="bg2"/>
                </a:solidFill>
                <a:latin typeface="Merck" panose="04040805020F02020302" pitchFamily="82" charset="0"/>
              </a:defRPr>
            </a:lvl2pPr>
            <a:lvl3pPr marL="0" indent="0">
              <a:spcBef>
                <a:spcPts val="0"/>
              </a:spcBef>
              <a:spcAft>
                <a:spcPts val="0"/>
              </a:spcAft>
              <a:buNone/>
              <a:defRPr sz="1400" cap="none">
                <a:solidFill>
                  <a:schemeClr val="bg2"/>
                </a:solidFill>
                <a:latin typeface="Merck" panose="04040805020F02020302" pitchFamily="82" charset="0"/>
              </a:defRPr>
            </a:lvl3pPr>
            <a:lvl4pPr marL="0" indent="0">
              <a:spcBef>
                <a:spcPts val="0"/>
              </a:spcBef>
              <a:spcAft>
                <a:spcPts val="0"/>
              </a:spcAft>
              <a:buNone/>
              <a:defRPr sz="1400" cap="none">
                <a:solidFill>
                  <a:schemeClr val="bg2"/>
                </a:solidFill>
                <a:latin typeface="Merck" panose="04040805020F02020302" pitchFamily="82" charset="0"/>
              </a:defRPr>
            </a:lvl4pPr>
            <a:lvl5pPr marL="0" indent="0">
              <a:spcBef>
                <a:spcPts val="0"/>
              </a:spcBef>
              <a:spcAft>
                <a:spcPts val="0"/>
              </a:spcAft>
              <a:buNone/>
              <a:defRPr sz="1400" cap="none">
                <a:solidFill>
                  <a:schemeClr val="bg2"/>
                </a:solidFill>
                <a:latin typeface="Merck" panose="04040805020F02020302" pitchFamily="82" charset="0"/>
              </a:defRPr>
            </a:lvl5pPr>
            <a:lvl6pPr marL="0" indent="0">
              <a:spcBef>
                <a:spcPts val="0"/>
              </a:spcBef>
              <a:spcAft>
                <a:spcPts val="0"/>
              </a:spcAft>
              <a:buNone/>
              <a:defRPr sz="1400" cap="none">
                <a:solidFill>
                  <a:schemeClr val="bg2"/>
                </a:solidFill>
                <a:latin typeface="Merck" panose="04040805020F02020302" pitchFamily="82" charset="0"/>
              </a:defRPr>
            </a:lvl6pPr>
            <a:lvl7pPr marL="0" indent="0">
              <a:spcBef>
                <a:spcPts val="0"/>
              </a:spcBef>
              <a:spcAft>
                <a:spcPts val="0"/>
              </a:spcAft>
              <a:buNone/>
              <a:defRPr sz="1400" cap="none">
                <a:solidFill>
                  <a:schemeClr val="bg2"/>
                </a:solidFill>
                <a:latin typeface="Merck" panose="04040805020F02020302" pitchFamily="82" charset="0"/>
              </a:defRPr>
            </a:lvl7pPr>
            <a:lvl8pPr marL="0" indent="0">
              <a:spcBef>
                <a:spcPts val="0"/>
              </a:spcBef>
              <a:spcAft>
                <a:spcPts val="0"/>
              </a:spcAft>
              <a:buNone/>
              <a:defRPr sz="1400" cap="none">
                <a:solidFill>
                  <a:schemeClr val="bg2"/>
                </a:solidFill>
                <a:latin typeface="Merck" panose="04040805020F02020302" pitchFamily="82" charset="0"/>
              </a:defRPr>
            </a:lvl8pPr>
            <a:lvl9pPr marL="0" indent="0">
              <a:spcBef>
                <a:spcPts val="0"/>
              </a:spcBef>
              <a:spcAft>
                <a:spcPts val="0"/>
              </a:spcAft>
              <a:buNone/>
              <a:defRPr sz="1400" cap="none">
                <a:solidFill>
                  <a:schemeClr val="bg2"/>
                </a:solidFill>
                <a:latin typeface="Merck" panose="04040805020F02020302" pitchFamily="82" charset="0"/>
              </a:defRPr>
            </a:lvl9pPr>
          </a:lstStyle>
          <a:p>
            <a:pPr lvl="0"/>
            <a:r>
              <a:rPr lang="en-US" noProof="0"/>
              <a:t>Contact (Please edit)</a:t>
            </a:r>
          </a:p>
        </p:txBody>
      </p:sp>
    </p:spTree>
    <p:extLst>
      <p:ext uri="{BB962C8B-B14F-4D97-AF65-F5344CB8AC3E}">
        <p14:creationId xmlns:p14="http://schemas.microsoft.com/office/powerpoint/2010/main" val="20355606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tro | 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Rectangle 5"/>
          <p:cNvSpPr/>
          <p:nvPr userDrawn="1"/>
        </p:nvSpPr>
        <p:spPr bwMode="gray">
          <a:xfrm>
            <a:off x="1" y="0"/>
            <a:ext cx="12192000" cy="6858001"/>
          </a:xfrm>
          <a:prstGeom prst="rect">
            <a:avLst/>
          </a:prstGeom>
          <a:solidFill>
            <a:srgbClr val="FFC832"/>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grpSp>
        <p:nvGrpSpPr>
          <p:cNvPr id="2" name="Gruppieren 1"/>
          <p:cNvGrpSpPr/>
          <p:nvPr userDrawn="1"/>
        </p:nvGrpSpPr>
        <p:grpSpPr bwMode="gray">
          <a:xfrm>
            <a:off x="4038600" y="2482850"/>
            <a:ext cx="4114800" cy="1970088"/>
            <a:chOff x="4038600" y="2482850"/>
            <a:chExt cx="4114800" cy="1970088"/>
          </a:xfrm>
        </p:grpSpPr>
        <p:sp>
          <p:nvSpPr>
            <p:cNvPr id="7" name="Freeform 5"/>
            <p:cNvSpPr>
              <a:spLocks/>
            </p:cNvSpPr>
            <p:nvPr userDrawn="1"/>
          </p:nvSpPr>
          <p:spPr bwMode="gray">
            <a:xfrm>
              <a:off x="4038600" y="2482850"/>
              <a:ext cx="4114800" cy="1970088"/>
            </a:xfrm>
            <a:custGeom>
              <a:avLst/>
              <a:gdLst>
                <a:gd name="T0" fmla="*/ 13648 w 13648"/>
                <a:gd name="T1" fmla="*/ 6343 h 6536"/>
                <a:gd name="T2" fmla="*/ 13648 w 13648"/>
                <a:gd name="T3" fmla="*/ 6112 h 6536"/>
                <a:gd name="T4" fmla="*/ 13648 w 13648"/>
                <a:gd name="T5" fmla="*/ 961 h 6536"/>
                <a:gd name="T6" fmla="*/ 12687 w 13648"/>
                <a:gd name="T7" fmla="*/ 0 h 6536"/>
                <a:gd name="T8" fmla="*/ 11669 w 13648"/>
                <a:gd name="T9" fmla="*/ 0 h 6536"/>
                <a:gd name="T10" fmla="*/ 11538 w 13648"/>
                <a:gd name="T11" fmla="*/ 53 h 6536"/>
                <a:gd name="T12" fmla="*/ 9497 w 13648"/>
                <a:gd name="T13" fmla="*/ 1968 h 6536"/>
                <a:gd name="T14" fmla="*/ 6824 w 13648"/>
                <a:gd name="T15" fmla="*/ 2994 h 6536"/>
                <a:gd name="T16" fmla="*/ 4064 w 13648"/>
                <a:gd name="T17" fmla="*/ 1885 h 6536"/>
                <a:gd name="T18" fmla="*/ 2550 w 13648"/>
                <a:gd name="T19" fmla="*/ 463 h 6536"/>
                <a:gd name="T20" fmla="*/ 1410 w 13648"/>
                <a:gd name="T21" fmla="*/ 0 h 6536"/>
                <a:gd name="T22" fmla="*/ 192 w 13648"/>
                <a:gd name="T23" fmla="*/ 0 h 6536"/>
                <a:gd name="T24" fmla="*/ 0 w 13648"/>
                <a:gd name="T25" fmla="*/ 192 h 6536"/>
                <a:gd name="T26" fmla="*/ 0 w 13648"/>
                <a:gd name="T27" fmla="*/ 5575 h 6536"/>
                <a:gd name="T28" fmla="*/ 961 w 13648"/>
                <a:gd name="T29" fmla="*/ 6536 h 6536"/>
                <a:gd name="T30" fmla="*/ 1333 w 13648"/>
                <a:gd name="T31" fmla="*/ 6536 h 6536"/>
                <a:gd name="T32" fmla="*/ 1584 w 13648"/>
                <a:gd name="T33" fmla="*/ 6536 h 6536"/>
                <a:gd name="T34" fmla="*/ 1777 w 13648"/>
                <a:gd name="T35" fmla="*/ 6342 h 6536"/>
                <a:gd name="T36" fmla="*/ 1778 w 13648"/>
                <a:gd name="T37" fmla="*/ 4427 h 6536"/>
                <a:gd name="T38" fmla="*/ 2679 w 13648"/>
                <a:gd name="T39" fmla="*/ 3514 h 6536"/>
                <a:gd name="T40" fmla="*/ 4847 w 13648"/>
                <a:gd name="T41" fmla="*/ 4823 h 6536"/>
                <a:gd name="T42" fmla="*/ 6824 w 13648"/>
                <a:gd name="T43" fmla="*/ 6085 h 6536"/>
                <a:gd name="T44" fmla="*/ 8801 w 13648"/>
                <a:gd name="T45" fmla="*/ 4823 h 6536"/>
                <a:gd name="T46" fmla="*/ 10968 w 13648"/>
                <a:gd name="T47" fmla="*/ 3514 h 6536"/>
                <a:gd name="T48" fmla="*/ 11869 w 13648"/>
                <a:gd name="T49" fmla="*/ 4419 h 6536"/>
                <a:gd name="T50" fmla="*/ 11869 w 13648"/>
                <a:gd name="T51" fmla="*/ 5575 h 6536"/>
                <a:gd name="T52" fmla="*/ 12831 w 13648"/>
                <a:gd name="T53" fmla="*/ 6535 h 6536"/>
                <a:gd name="T54" fmla="*/ 13246 w 13648"/>
                <a:gd name="T55" fmla="*/ 6535 h 6536"/>
                <a:gd name="T56" fmla="*/ 13455 w 13648"/>
                <a:gd name="T57" fmla="*/ 6536 h 6536"/>
                <a:gd name="T58" fmla="*/ 13455 w 13648"/>
                <a:gd name="T59" fmla="*/ 6536 h 6536"/>
                <a:gd name="T60" fmla="*/ 13648 w 13648"/>
                <a:gd name="T61" fmla="*/ 6343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648" h="6536">
                  <a:moveTo>
                    <a:pt x="13648" y="6343"/>
                  </a:moveTo>
                  <a:cubicBezTo>
                    <a:pt x="13648" y="6112"/>
                    <a:pt x="13648" y="6112"/>
                    <a:pt x="13648" y="6112"/>
                  </a:cubicBezTo>
                  <a:cubicBezTo>
                    <a:pt x="13648" y="5089"/>
                    <a:pt x="13648" y="1001"/>
                    <a:pt x="13648" y="961"/>
                  </a:cubicBezTo>
                  <a:cubicBezTo>
                    <a:pt x="13648" y="430"/>
                    <a:pt x="13217" y="0"/>
                    <a:pt x="12687" y="0"/>
                  </a:cubicBezTo>
                  <a:cubicBezTo>
                    <a:pt x="11669" y="0"/>
                    <a:pt x="11669" y="0"/>
                    <a:pt x="11669" y="0"/>
                  </a:cubicBezTo>
                  <a:cubicBezTo>
                    <a:pt x="11618" y="0"/>
                    <a:pt x="11572" y="20"/>
                    <a:pt x="11538" y="53"/>
                  </a:cubicBezTo>
                  <a:cubicBezTo>
                    <a:pt x="9497" y="1968"/>
                    <a:pt x="9497" y="1968"/>
                    <a:pt x="9497" y="1968"/>
                  </a:cubicBezTo>
                  <a:cubicBezTo>
                    <a:pt x="8798" y="2625"/>
                    <a:pt x="7858" y="2994"/>
                    <a:pt x="6824" y="2994"/>
                  </a:cubicBezTo>
                  <a:cubicBezTo>
                    <a:pt x="5746" y="2994"/>
                    <a:pt x="4770" y="2591"/>
                    <a:pt x="4064" y="1885"/>
                  </a:cubicBezTo>
                  <a:cubicBezTo>
                    <a:pt x="4064" y="1885"/>
                    <a:pt x="2563" y="476"/>
                    <a:pt x="2550" y="463"/>
                  </a:cubicBezTo>
                  <a:cubicBezTo>
                    <a:pt x="2262" y="195"/>
                    <a:pt x="1866" y="10"/>
                    <a:pt x="1410" y="0"/>
                  </a:cubicBezTo>
                  <a:cubicBezTo>
                    <a:pt x="192" y="0"/>
                    <a:pt x="192" y="0"/>
                    <a:pt x="192" y="0"/>
                  </a:cubicBezTo>
                  <a:cubicBezTo>
                    <a:pt x="86" y="0"/>
                    <a:pt x="0" y="86"/>
                    <a:pt x="0" y="192"/>
                  </a:cubicBezTo>
                  <a:cubicBezTo>
                    <a:pt x="0" y="5575"/>
                    <a:pt x="0" y="5575"/>
                    <a:pt x="0" y="5575"/>
                  </a:cubicBezTo>
                  <a:cubicBezTo>
                    <a:pt x="0" y="6105"/>
                    <a:pt x="430" y="6536"/>
                    <a:pt x="961" y="6536"/>
                  </a:cubicBezTo>
                  <a:cubicBezTo>
                    <a:pt x="1333" y="6536"/>
                    <a:pt x="1333" y="6536"/>
                    <a:pt x="1333" y="6536"/>
                  </a:cubicBezTo>
                  <a:cubicBezTo>
                    <a:pt x="1584" y="6536"/>
                    <a:pt x="1584" y="6536"/>
                    <a:pt x="1584" y="6536"/>
                  </a:cubicBezTo>
                  <a:cubicBezTo>
                    <a:pt x="1691" y="6536"/>
                    <a:pt x="1777" y="6449"/>
                    <a:pt x="1777" y="6342"/>
                  </a:cubicBezTo>
                  <a:cubicBezTo>
                    <a:pt x="1778" y="4427"/>
                    <a:pt x="1778" y="4427"/>
                    <a:pt x="1778" y="4427"/>
                  </a:cubicBezTo>
                  <a:cubicBezTo>
                    <a:pt x="1778" y="3927"/>
                    <a:pt x="2186" y="3514"/>
                    <a:pt x="2679" y="3514"/>
                  </a:cubicBezTo>
                  <a:cubicBezTo>
                    <a:pt x="3595" y="3514"/>
                    <a:pt x="4253" y="4299"/>
                    <a:pt x="4847" y="4823"/>
                  </a:cubicBezTo>
                  <a:cubicBezTo>
                    <a:pt x="5574" y="5466"/>
                    <a:pt x="6134" y="6085"/>
                    <a:pt x="6824" y="6085"/>
                  </a:cubicBezTo>
                  <a:cubicBezTo>
                    <a:pt x="7513" y="6085"/>
                    <a:pt x="8073" y="5466"/>
                    <a:pt x="8801" y="4823"/>
                  </a:cubicBezTo>
                  <a:cubicBezTo>
                    <a:pt x="9395" y="4299"/>
                    <a:pt x="10052" y="3514"/>
                    <a:pt x="10968" y="3514"/>
                  </a:cubicBezTo>
                  <a:cubicBezTo>
                    <a:pt x="11458" y="3514"/>
                    <a:pt x="11865" y="3922"/>
                    <a:pt x="11869" y="4419"/>
                  </a:cubicBezTo>
                  <a:cubicBezTo>
                    <a:pt x="11869" y="4419"/>
                    <a:pt x="11869" y="5567"/>
                    <a:pt x="11869" y="5575"/>
                  </a:cubicBezTo>
                  <a:cubicBezTo>
                    <a:pt x="11869" y="6105"/>
                    <a:pt x="12300" y="6535"/>
                    <a:pt x="12831" y="6535"/>
                  </a:cubicBezTo>
                  <a:cubicBezTo>
                    <a:pt x="13246" y="6535"/>
                    <a:pt x="13246" y="6535"/>
                    <a:pt x="13246" y="6535"/>
                  </a:cubicBezTo>
                  <a:cubicBezTo>
                    <a:pt x="13354" y="6535"/>
                    <a:pt x="13455" y="6536"/>
                    <a:pt x="13455" y="6536"/>
                  </a:cubicBezTo>
                  <a:cubicBezTo>
                    <a:pt x="13455" y="6536"/>
                    <a:pt x="13455" y="6536"/>
                    <a:pt x="13455" y="6536"/>
                  </a:cubicBezTo>
                  <a:cubicBezTo>
                    <a:pt x="13561" y="6536"/>
                    <a:pt x="13648" y="6449"/>
                    <a:pt x="13648" y="6343"/>
                  </a:cubicBezTo>
                  <a:close/>
                </a:path>
              </a:pathLst>
            </a:custGeom>
            <a:solidFill>
              <a:srgbClr val="FFCA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6"/>
            <p:cNvSpPr>
              <a:spLocks noEditPoints="1"/>
            </p:cNvSpPr>
            <p:nvPr userDrawn="1"/>
          </p:nvSpPr>
          <p:spPr bwMode="gray">
            <a:xfrm>
              <a:off x="4038600" y="2482850"/>
              <a:ext cx="4114800" cy="1970088"/>
            </a:xfrm>
            <a:custGeom>
              <a:avLst/>
              <a:gdLst>
                <a:gd name="T0" fmla="*/ 13648 w 13648"/>
                <a:gd name="T1" fmla="*/ 961 h 6536"/>
                <a:gd name="T2" fmla="*/ 12687 w 13648"/>
                <a:gd name="T3" fmla="*/ 0 h 6536"/>
                <a:gd name="T4" fmla="*/ 11669 w 13648"/>
                <a:gd name="T5" fmla="*/ 0 h 6536"/>
                <a:gd name="T6" fmla="*/ 11538 w 13648"/>
                <a:gd name="T7" fmla="*/ 53 h 6536"/>
                <a:gd name="T8" fmla="*/ 9497 w 13648"/>
                <a:gd name="T9" fmla="*/ 1968 h 6536"/>
                <a:gd name="T10" fmla="*/ 6824 w 13648"/>
                <a:gd name="T11" fmla="*/ 2994 h 6536"/>
                <a:gd name="T12" fmla="*/ 4064 w 13648"/>
                <a:gd name="T13" fmla="*/ 1885 h 6536"/>
                <a:gd name="T14" fmla="*/ 2550 w 13648"/>
                <a:gd name="T15" fmla="*/ 463 h 6536"/>
                <a:gd name="T16" fmla="*/ 1410 w 13648"/>
                <a:gd name="T17" fmla="*/ 0 h 6536"/>
                <a:gd name="T18" fmla="*/ 192 w 13648"/>
                <a:gd name="T19" fmla="*/ 0 h 6536"/>
                <a:gd name="T20" fmla="*/ 0 w 13648"/>
                <a:gd name="T21" fmla="*/ 192 h 6536"/>
                <a:gd name="T22" fmla="*/ 0 w 13648"/>
                <a:gd name="T23" fmla="*/ 309 h 6536"/>
                <a:gd name="T24" fmla="*/ 127 w 13648"/>
                <a:gd name="T25" fmla="*/ 302 h 6536"/>
                <a:gd name="T26" fmla="*/ 2129 w 13648"/>
                <a:gd name="T27" fmla="*/ 2283 h 6536"/>
                <a:gd name="T28" fmla="*/ 127 w 13648"/>
                <a:gd name="T29" fmla="*/ 4263 h 6536"/>
                <a:gd name="T30" fmla="*/ 0 w 13648"/>
                <a:gd name="T31" fmla="*/ 4257 h 6536"/>
                <a:gd name="T32" fmla="*/ 0 w 13648"/>
                <a:gd name="T33" fmla="*/ 5575 h 6536"/>
                <a:gd name="T34" fmla="*/ 961 w 13648"/>
                <a:gd name="T35" fmla="*/ 6536 h 6536"/>
                <a:gd name="T36" fmla="*/ 1333 w 13648"/>
                <a:gd name="T37" fmla="*/ 6536 h 6536"/>
                <a:gd name="T38" fmla="*/ 1584 w 13648"/>
                <a:gd name="T39" fmla="*/ 6536 h 6536"/>
                <a:gd name="T40" fmla="*/ 1777 w 13648"/>
                <a:gd name="T41" fmla="*/ 6343 h 6536"/>
                <a:gd name="T42" fmla="*/ 1778 w 13648"/>
                <a:gd name="T43" fmla="*/ 4427 h 6536"/>
                <a:gd name="T44" fmla="*/ 2679 w 13648"/>
                <a:gd name="T45" fmla="*/ 3514 h 6536"/>
                <a:gd name="T46" fmla="*/ 4847 w 13648"/>
                <a:gd name="T47" fmla="*/ 4824 h 6536"/>
                <a:gd name="T48" fmla="*/ 6045 w 13648"/>
                <a:gd name="T49" fmla="*/ 5829 h 6536"/>
                <a:gd name="T50" fmla="*/ 7855 w 13648"/>
                <a:gd name="T51" fmla="*/ 3785 h 6536"/>
                <a:gd name="T52" fmla="*/ 10293 w 13648"/>
                <a:gd name="T53" fmla="*/ 3661 h 6536"/>
                <a:gd name="T54" fmla="*/ 10969 w 13648"/>
                <a:gd name="T55" fmla="*/ 3514 h 6536"/>
                <a:gd name="T56" fmla="*/ 11870 w 13648"/>
                <a:gd name="T57" fmla="*/ 4419 h 6536"/>
                <a:gd name="T58" fmla="*/ 11870 w 13648"/>
                <a:gd name="T59" fmla="*/ 5575 h 6536"/>
                <a:gd name="T60" fmla="*/ 12831 w 13648"/>
                <a:gd name="T61" fmla="*/ 6535 h 6536"/>
                <a:gd name="T62" fmla="*/ 13246 w 13648"/>
                <a:gd name="T63" fmla="*/ 6535 h 6536"/>
                <a:gd name="T64" fmla="*/ 13455 w 13648"/>
                <a:gd name="T65" fmla="*/ 6536 h 6536"/>
                <a:gd name="T66" fmla="*/ 13455 w 13648"/>
                <a:gd name="T67" fmla="*/ 6536 h 6536"/>
                <a:gd name="T68" fmla="*/ 13648 w 13648"/>
                <a:gd name="T69" fmla="*/ 6343 h 6536"/>
                <a:gd name="T70" fmla="*/ 13648 w 13648"/>
                <a:gd name="T71" fmla="*/ 6113 h 6536"/>
                <a:gd name="T72" fmla="*/ 13648 w 13648"/>
                <a:gd name="T73" fmla="*/ 961 h 6536"/>
                <a:gd name="T74" fmla="*/ 12632 w 13648"/>
                <a:gd name="T75" fmla="*/ 3226 h 6536"/>
                <a:gd name="T76" fmla="*/ 11729 w 13648"/>
                <a:gd name="T77" fmla="*/ 2572 h 6536"/>
                <a:gd name="T78" fmla="*/ 10751 w 13648"/>
                <a:gd name="T79" fmla="*/ 1902 h 6536"/>
                <a:gd name="T80" fmla="*/ 12481 w 13648"/>
                <a:gd name="T81" fmla="*/ 1838 h 6536"/>
                <a:gd name="T82" fmla="*/ 12632 w 13648"/>
                <a:gd name="T83" fmla="*/ 3226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648" h="6536">
                  <a:moveTo>
                    <a:pt x="13648" y="961"/>
                  </a:moveTo>
                  <a:cubicBezTo>
                    <a:pt x="13648" y="430"/>
                    <a:pt x="13218" y="0"/>
                    <a:pt x="12687" y="0"/>
                  </a:cubicBezTo>
                  <a:cubicBezTo>
                    <a:pt x="11669" y="0"/>
                    <a:pt x="11669" y="0"/>
                    <a:pt x="11669" y="0"/>
                  </a:cubicBezTo>
                  <a:cubicBezTo>
                    <a:pt x="11618" y="0"/>
                    <a:pt x="11572" y="20"/>
                    <a:pt x="11538" y="53"/>
                  </a:cubicBezTo>
                  <a:cubicBezTo>
                    <a:pt x="9497" y="1968"/>
                    <a:pt x="9497" y="1968"/>
                    <a:pt x="9497" y="1968"/>
                  </a:cubicBezTo>
                  <a:cubicBezTo>
                    <a:pt x="8799" y="2625"/>
                    <a:pt x="7858" y="2994"/>
                    <a:pt x="6824" y="2994"/>
                  </a:cubicBezTo>
                  <a:cubicBezTo>
                    <a:pt x="5746" y="2994"/>
                    <a:pt x="4771" y="2591"/>
                    <a:pt x="4064" y="1885"/>
                  </a:cubicBezTo>
                  <a:cubicBezTo>
                    <a:pt x="4064" y="1885"/>
                    <a:pt x="2564" y="476"/>
                    <a:pt x="2550" y="463"/>
                  </a:cubicBezTo>
                  <a:cubicBezTo>
                    <a:pt x="2262" y="195"/>
                    <a:pt x="1866" y="10"/>
                    <a:pt x="1410" y="0"/>
                  </a:cubicBezTo>
                  <a:cubicBezTo>
                    <a:pt x="192" y="0"/>
                    <a:pt x="192" y="0"/>
                    <a:pt x="192" y="0"/>
                  </a:cubicBezTo>
                  <a:cubicBezTo>
                    <a:pt x="86" y="0"/>
                    <a:pt x="0" y="86"/>
                    <a:pt x="0" y="192"/>
                  </a:cubicBezTo>
                  <a:cubicBezTo>
                    <a:pt x="0" y="309"/>
                    <a:pt x="0" y="309"/>
                    <a:pt x="0" y="309"/>
                  </a:cubicBezTo>
                  <a:cubicBezTo>
                    <a:pt x="42" y="306"/>
                    <a:pt x="84" y="302"/>
                    <a:pt x="127" y="302"/>
                  </a:cubicBezTo>
                  <a:cubicBezTo>
                    <a:pt x="1233" y="302"/>
                    <a:pt x="2129" y="1189"/>
                    <a:pt x="2129" y="2283"/>
                  </a:cubicBezTo>
                  <a:cubicBezTo>
                    <a:pt x="2129" y="3377"/>
                    <a:pt x="1233" y="4263"/>
                    <a:pt x="127" y="4263"/>
                  </a:cubicBezTo>
                  <a:cubicBezTo>
                    <a:pt x="84" y="4263"/>
                    <a:pt x="42" y="4259"/>
                    <a:pt x="0" y="4257"/>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8" y="4427"/>
                    <a:pt x="1778" y="4427"/>
                    <a:pt x="1778" y="4427"/>
                  </a:cubicBezTo>
                  <a:cubicBezTo>
                    <a:pt x="1778" y="3927"/>
                    <a:pt x="2186" y="3514"/>
                    <a:pt x="2679" y="3514"/>
                  </a:cubicBezTo>
                  <a:cubicBezTo>
                    <a:pt x="3595" y="3514"/>
                    <a:pt x="4253" y="4299"/>
                    <a:pt x="4847" y="4824"/>
                  </a:cubicBezTo>
                  <a:cubicBezTo>
                    <a:pt x="5285" y="5211"/>
                    <a:pt x="5663" y="5589"/>
                    <a:pt x="6045" y="5829"/>
                  </a:cubicBezTo>
                  <a:cubicBezTo>
                    <a:pt x="6051" y="5102"/>
                    <a:pt x="6768" y="4257"/>
                    <a:pt x="7855" y="3785"/>
                  </a:cubicBezTo>
                  <a:cubicBezTo>
                    <a:pt x="8772" y="3388"/>
                    <a:pt x="9702" y="3364"/>
                    <a:pt x="10293" y="3661"/>
                  </a:cubicBezTo>
                  <a:cubicBezTo>
                    <a:pt x="10502" y="3570"/>
                    <a:pt x="10726" y="3514"/>
                    <a:pt x="10969" y="3514"/>
                  </a:cubicBezTo>
                  <a:cubicBezTo>
                    <a:pt x="11459" y="3514"/>
                    <a:pt x="11865" y="3922"/>
                    <a:pt x="11870" y="4419"/>
                  </a:cubicBezTo>
                  <a:cubicBezTo>
                    <a:pt x="11870" y="4419"/>
                    <a:pt x="11870" y="5567"/>
                    <a:pt x="11870" y="5575"/>
                  </a:cubicBezTo>
                  <a:cubicBezTo>
                    <a:pt x="11870" y="6106"/>
                    <a:pt x="12300" y="6535"/>
                    <a:pt x="12831" y="6535"/>
                  </a:cubicBezTo>
                  <a:cubicBezTo>
                    <a:pt x="13246" y="6535"/>
                    <a:pt x="13246" y="6535"/>
                    <a:pt x="13246" y="6535"/>
                  </a:cubicBezTo>
                  <a:cubicBezTo>
                    <a:pt x="13355" y="6535"/>
                    <a:pt x="13455" y="6536"/>
                    <a:pt x="13455" y="6536"/>
                  </a:cubicBezTo>
                  <a:cubicBezTo>
                    <a:pt x="13455" y="6536"/>
                    <a:pt x="13455" y="6536"/>
                    <a:pt x="13455" y="6536"/>
                  </a:cubicBezTo>
                  <a:cubicBezTo>
                    <a:pt x="13562" y="6536"/>
                    <a:pt x="13648" y="6449"/>
                    <a:pt x="13648" y="6343"/>
                  </a:cubicBezTo>
                  <a:cubicBezTo>
                    <a:pt x="13648" y="6113"/>
                    <a:pt x="13648" y="6113"/>
                    <a:pt x="13648" y="6113"/>
                  </a:cubicBezTo>
                  <a:cubicBezTo>
                    <a:pt x="13648" y="5089"/>
                    <a:pt x="13648" y="1001"/>
                    <a:pt x="13648" y="961"/>
                  </a:cubicBezTo>
                  <a:close/>
                  <a:moveTo>
                    <a:pt x="12632" y="3226"/>
                  </a:moveTo>
                  <a:cubicBezTo>
                    <a:pt x="12484" y="3174"/>
                    <a:pt x="12284" y="3026"/>
                    <a:pt x="11729" y="2572"/>
                  </a:cubicBezTo>
                  <a:cubicBezTo>
                    <a:pt x="11174" y="2118"/>
                    <a:pt x="10351" y="2391"/>
                    <a:pt x="10751" y="1902"/>
                  </a:cubicBezTo>
                  <a:cubicBezTo>
                    <a:pt x="11151" y="1413"/>
                    <a:pt x="11926" y="1384"/>
                    <a:pt x="12481" y="1838"/>
                  </a:cubicBezTo>
                  <a:cubicBezTo>
                    <a:pt x="13036" y="2292"/>
                    <a:pt x="13229" y="3434"/>
                    <a:pt x="12632" y="322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userDrawn="1"/>
          </p:nvSpPr>
          <p:spPr bwMode="gray">
            <a:xfrm>
              <a:off x="4038600" y="2482850"/>
              <a:ext cx="4114800" cy="1970088"/>
            </a:xfrm>
            <a:custGeom>
              <a:avLst/>
              <a:gdLst>
                <a:gd name="T0" fmla="*/ 11932 w 13648"/>
                <a:gd name="T1" fmla="*/ 3358 h 6536"/>
                <a:gd name="T2" fmla="*/ 13648 w 13648"/>
                <a:gd name="T3" fmla="*/ 3699 h 6536"/>
                <a:gd name="T4" fmla="*/ 13648 w 13648"/>
                <a:gd name="T5" fmla="*/ 2168 h 6536"/>
                <a:gd name="T6" fmla="*/ 11489 w 13648"/>
                <a:gd name="T7" fmla="*/ 1768 h 6536"/>
                <a:gd name="T8" fmla="*/ 12716 w 13648"/>
                <a:gd name="T9" fmla="*/ 3 h 6536"/>
                <a:gd name="T10" fmla="*/ 12687 w 13648"/>
                <a:gd name="T11" fmla="*/ 0 h 6536"/>
                <a:gd name="T12" fmla="*/ 11669 w 13648"/>
                <a:gd name="T13" fmla="*/ 0 h 6536"/>
                <a:gd name="T14" fmla="*/ 11538 w 13648"/>
                <a:gd name="T15" fmla="*/ 53 h 6536"/>
                <a:gd name="T16" fmla="*/ 10298 w 13648"/>
                <a:gd name="T17" fmla="*/ 1217 h 6536"/>
                <a:gd name="T18" fmla="*/ 9293 w 13648"/>
                <a:gd name="T19" fmla="*/ 3115 h 6536"/>
                <a:gd name="T20" fmla="*/ 5182 w 13648"/>
                <a:gd name="T21" fmla="*/ 4321 h 6536"/>
                <a:gd name="T22" fmla="*/ 4569 w 13648"/>
                <a:gd name="T23" fmla="*/ 2303 h 6536"/>
                <a:gd name="T24" fmla="*/ 4064 w 13648"/>
                <a:gd name="T25" fmla="*/ 1885 h 6536"/>
                <a:gd name="T26" fmla="*/ 3466 w 13648"/>
                <a:gd name="T27" fmla="*/ 1323 h 6536"/>
                <a:gd name="T28" fmla="*/ 1362 w 13648"/>
                <a:gd name="T29" fmla="*/ 1511 h 6536"/>
                <a:gd name="T30" fmla="*/ 908 w 13648"/>
                <a:gd name="T31" fmla="*/ 0 h 6536"/>
                <a:gd name="T32" fmla="*/ 192 w 13648"/>
                <a:gd name="T33" fmla="*/ 0 h 6536"/>
                <a:gd name="T34" fmla="*/ 0 w 13648"/>
                <a:gd name="T35" fmla="*/ 192 h 6536"/>
                <a:gd name="T36" fmla="*/ 0 w 13648"/>
                <a:gd name="T37" fmla="*/ 5575 h 6536"/>
                <a:gd name="T38" fmla="*/ 961 w 13648"/>
                <a:gd name="T39" fmla="*/ 6536 h 6536"/>
                <a:gd name="T40" fmla="*/ 1333 w 13648"/>
                <a:gd name="T41" fmla="*/ 6536 h 6536"/>
                <a:gd name="T42" fmla="*/ 1584 w 13648"/>
                <a:gd name="T43" fmla="*/ 6536 h 6536"/>
                <a:gd name="T44" fmla="*/ 1777 w 13648"/>
                <a:gd name="T45" fmla="*/ 6343 h 6536"/>
                <a:gd name="T46" fmla="*/ 1777 w 13648"/>
                <a:gd name="T47" fmla="*/ 5509 h 6536"/>
                <a:gd name="T48" fmla="*/ 888 w 13648"/>
                <a:gd name="T49" fmla="*/ 5419 h 6536"/>
                <a:gd name="T50" fmla="*/ 1132 w 13648"/>
                <a:gd name="T51" fmla="*/ 3510 h 6536"/>
                <a:gd name="T52" fmla="*/ 2953 w 13648"/>
                <a:gd name="T53" fmla="*/ 2855 h 6536"/>
                <a:gd name="T54" fmla="*/ 3266 w 13648"/>
                <a:gd name="T55" fmla="*/ 3625 h 6536"/>
                <a:gd name="T56" fmla="*/ 4847 w 13648"/>
                <a:gd name="T57" fmla="*/ 4824 h 6536"/>
                <a:gd name="T58" fmla="*/ 6824 w 13648"/>
                <a:gd name="T59" fmla="*/ 6085 h 6536"/>
                <a:gd name="T60" fmla="*/ 8801 w 13648"/>
                <a:gd name="T61" fmla="*/ 4824 h 6536"/>
                <a:gd name="T62" fmla="*/ 10515 w 13648"/>
                <a:gd name="T63" fmla="*/ 3580 h 6536"/>
                <a:gd name="T64" fmla="*/ 10519 w 13648"/>
                <a:gd name="T65" fmla="*/ 3579 h 6536"/>
                <a:gd name="T66" fmla="*/ 11932 w 13648"/>
                <a:gd name="T67" fmla="*/ 3358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48" h="6536">
                  <a:moveTo>
                    <a:pt x="11932" y="3358"/>
                  </a:moveTo>
                  <a:cubicBezTo>
                    <a:pt x="12549" y="3358"/>
                    <a:pt x="13129" y="3483"/>
                    <a:pt x="13648" y="3699"/>
                  </a:cubicBezTo>
                  <a:cubicBezTo>
                    <a:pt x="13648" y="3162"/>
                    <a:pt x="13648" y="2624"/>
                    <a:pt x="13648" y="2168"/>
                  </a:cubicBezTo>
                  <a:cubicBezTo>
                    <a:pt x="12897" y="2341"/>
                    <a:pt x="11747" y="2453"/>
                    <a:pt x="11489" y="1768"/>
                  </a:cubicBezTo>
                  <a:cubicBezTo>
                    <a:pt x="11253" y="1142"/>
                    <a:pt x="11893" y="161"/>
                    <a:pt x="12716" y="3"/>
                  </a:cubicBezTo>
                  <a:cubicBezTo>
                    <a:pt x="12706" y="2"/>
                    <a:pt x="12697" y="0"/>
                    <a:pt x="12687" y="0"/>
                  </a:cubicBezTo>
                  <a:cubicBezTo>
                    <a:pt x="11669" y="0"/>
                    <a:pt x="11669" y="0"/>
                    <a:pt x="11669" y="0"/>
                  </a:cubicBezTo>
                  <a:cubicBezTo>
                    <a:pt x="11618" y="0"/>
                    <a:pt x="11572" y="20"/>
                    <a:pt x="11538" y="53"/>
                  </a:cubicBezTo>
                  <a:cubicBezTo>
                    <a:pt x="10298" y="1217"/>
                    <a:pt x="10298" y="1217"/>
                    <a:pt x="10298" y="1217"/>
                  </a:cubicBezTo>
                  <a:cubicBezTo>
                    <a:pt x="10132" y="1855"/>
                    <a:pt x="9794" y="2520"/>
                    <a:pt x="9293" y="3115"/>
                  </a:cubicBezTo>
                  <a:cubicBezTo>
                    <a:pt x="8033" y="4612"/>
                    <a:pt x="6154" y="5214"/>
                    <a:pt x="5182" y="4321"/>
                  </a:cubicBezTo>
                  <a:cubicBezTo>
                    <a:pt x="4669" y="3850"/>
                    <a:pt x="4468" y="3114"/>
                    <a:pt x="4569" y="2303"/>
                  </a:cubicBezTo>
                  <a:cubicBezTo>
                    <a:pt x="4390" y="2178"/>
                    <a:pt x="4219" y="2040"/>
                    <a:pt x="4064" y="1885"/>
                  </a:cubicBezTo>
                  <a:cubicBezTo>
                    <a:pt x="4064" y="1885"/>
                    <a:pt x="3784" y="1623"/>
                    <a:pt x="3466" y="1323"/>
                  </a:cubicBezTo>
                  <a:cubicBezTo>
                    <a:pt x="2590" y="2124"/>
                    <a:pt x="1943" y="2023"/>
                    <a:pt x="1362" y="1511"/>
                  </a:cubicBezTo>
                  <a:cubicBezTo>
                    <a:pt x="1086" y="1269"/>
                    <a:pt x="912" y="614"/>
                    <a:pt x="908" y="0"/>
                  </a:cubicBezTo>
                  <a:cubicBezTo>
                    <a:pt x="192" y="0"/>
                    <a:pt x="192" y="0"/>
                    <a:pt x="192" y="0"/>
                  </a:cubicBezTo>
                  <a:cubicBezTo>
                    <a:pt x="86" y="0"/>
                    <a:pt x="0" y="86"/>
                    <a:pt x="0" y="192"/>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7" y="5509"/>
                    <a:pt x="1777" y="5509"/>
                    <a:pt x="1777" y="5509"/>
                  </a:cubicBezTo>
                  <a:cubicBezTo>
                    <a:pt x="1435" y="5629"/>
                    <a:pt x="1123" y="5594"/>
                    <a:pt x="888" y="5419"/>
                  </a:cubicBezTo>
                  <a:cubicBezTo>
                    <a:pt x="469" y="5108"/>
                    <a:pt x="558" y="4229"/>
                    <a:pt x="1132" y="3510"/>
                  </a:cubicBezTo>
                  <a:cubicBezTo>
                    <a:pt x="1704" y="2759"/>
                    <a:pt x="2537" y="2539"/>
                    <a:pt x="2953" y="2855"/>
                  </a:cubicBezTo>
                  <a:cubicBezTo>
                    <a:pt x="3161" y="3012"/>
                    <a:pt x="3285" y="3285"/>
                    <a:pt x="3266" y="3625"/>
                  </a:cubicBezTo>
                  <a:cubicBezTo>
                    <a:pt x="3891" y="3860"/>
                    <a:pt x="4388" y="4418"/>
                    <a:pt x="4847" y="4824"/>
                  </a:cubicBezTo>
                  <a:cubicBezTo>
                    <a:pt x="5574" y="5466"/>
                    <a:pt x="6134" y="6085"/>
                    <a:pt x="6824" y="6085"/>
                  </a:cubicBezTo>
                  <a:cubicBezTo>
                    <a:pt x="7513" y="6085"/>
                    <a:pt x="8073" y="5466"/>
                    <a:pt x="8801" y="4824"/>
                  </a:cubicBezTo>
                  <a:cubicBezTo>
                    <a:pt x="9292" y="4390"/>
                    <a:pt x="9827" y="3779"/>
                    <a:pt x="10515" y="3580"/>
                  </a:cubicBezTo>
                  <a:cubicBezTo>
                    <a:pt x="10517" y="3580"/>
                    <a:pt x="10517" y="3580"/>
                    <a:pt x="10519" y="3579"/>
                  </a:cubicBezTo>
                  <a:cubicBezTo>
                    <a:pt x="10948" y="3445"/>
                    <a:pt x="11450" y="3358"/>
                    <a:pt x="11932" y="3358"/>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549358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tro | P">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bwMode="gray">
          <a:xfrm>
            <a:off x="1" y="0"/>
            <a:ext cx="12192000" cy="6858001"/>
          </a:xfrm>
          <a:prstGeom prst="rect">
            <a:avLst/>
          </a:prstGeom>
          <a:solidFill>
            <a:srgbClr val="A5CD50"/>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pic>
        <p:nvPicPr>
          <p:cNvPr id="2" name="Grafik 1"/>
          <p:cNvPicPr>
            <a:picLocks noChangeAspect="1"/>
          </p:cNvPicPr>
          <p:nvPr userDrawn="1"/>
        </p:nvPicPr>
        <p:blipFill>
          <a:blip r:embed="rId5"/>
          <a:stretch>
            <a:fillRect/>
          </a:stretch>
        </p:blipFill>
        <p:spPr bwMode="gray">
          <a:xfrm>
            <a:off x="4038600" y="2404526"/>
            <a:ext cx="4114800" cy="2048363"/>
          </a:xfrm>
          <a:prstGeom prst="rect">
            <a:avLst/>
          </a:prstGeom>
        </p:spPr>
      </p:pic>
    </p:spTree>
    <p:extLst>
      <p:ext uri="{BB962C8B-B14F-4D97-AF65-F5344CB8AC3E}">
        <p14:creationId xmlns:p14="http://schemas.microsoft.com/office/powerpoint/2010/main" val="38888167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tro | 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p:cNvSpPr/>
          <p:nvPr userDrawn="1"/>
        </p:nvSpPr>
        <p:spPr bwMode="gray">
          <a:xfrm>
            <a:off x="1" y="0"/>
            <a:ext cx="12192000" cy="6858001"/>
          </a:xfrm>
          <a:prstGeom prst="rect">
            <a:avLst/>
          </a:prstGeom>
          <a:solidFill>
            <a:schemeClr val="accent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grpSp>
        <p:nvGrpSpPr>
          <p:cNvPr id="4" name="Gruppieren 3"/>
          <p:cNvGrpSpPr/>
          <p:nvPr userDrawn="1"/>
        </p:nvGrpSpPr>
        <p:grpSpPr bwMode="gray">
          <a:xfrm>
            <a:off x="4038600" y="2482850"/>
            <a:ext cx="4114800" cy="1970088"/>
            <a:chOff x="4038600" y="2482850"/>
            <a:chExt cx="4114800" cy="1970088"/>
          </a:xfrm>
        </p:grpSpPr>
        <p:sp>
          <p:nvSpPr>
            <p:cNvPr id="7" name="Freeform 6"/>
            <p:cNvSpPr>
              <a:spLocks noEditPoints="1"/>
            </p:cNvSpPr>
            <p:nvPr userDrawn="1"/>
          </p:nvSpPr>
          <p:spPr bwMode="gray">
            <a:xfrm>
              <a:off x="4038600" y="2482850"/>
              <a:ext cx="4114800" cy="1970088"/>
            </a:xfrm>
            <a:custGeom>
              <a:avLst/>
              <a:gdLst>
                <a:gd name="T0" fmla="*/ 13648 w 13648"/>
                <a:gd name="T1" fmla="*/ 961 h 6536"/>
                <a:gd name="T2" fmla="*/ 12687 w 13648"/>
                <a:gd name="T3" fmla="*/ 0 h 6536"/>
                <a:gd name="T4" fmla="*/ 11669 w 13648"/>
                <a:gd name="T5" fmla="*/ 0 h 6536"/>
                <a:gd name="T6" fmla="*/ 11538 w 13648"/>
                <a:gd name="T7" fmla="*/ 53 h 6536"/>
                <a:gd name="T8" fmla="*/ 9497 w 13648"/>
                <a:gd name="T9" fmla="*/ 1968 h 6536"/>
                <a:gd name="T10" fmla="*/ 6824 w 13648"/>
                <a:gd name="T11" fmla="*/ 2994 h 6536"/>
                <a:gd name="T12" fmla="*/ 4064 w 13648"/>
                <a:gd name="T13" fmla="*/ 1885 h 6536"/>
                <a:gd name="T14" fmla="*/ 2550 w 13648"/>
                <a:gd name="T15" fmla="*/ 463 h 6536"/>
                <a:gd name="T16" fmla="*/ 1410 w 13648"/>
                <a:gd name="T17" fmla="*/ 0 h 6536"/>
                <a:gd name="T18" fmla="*/ 192 w 13648"/>
                <a:gd name="T19" fmla="*/ 0 h 6536"/>
                <a:gd name="T20" fmla="*/ 0 w 13648"/>
                <a:gd name="T21" fmla="*/ 192 h 6536"/>
                <a:gd name="T22" fmla="*/ 0 w 13648"/>
                <a:gd name="T23" fmla="*/ 309 h 6536"/>
                <a:gd name="T24" fmla="*/ 127 w 13648"/>
                <a:gd name="T25" fmla="*/ 302 h 6536"/>
                <a:gd name="T26" fmla="*/ 2129 w 13648"/>
                <a:gd name="T27" fmla="*/ 2283 h 6536"/>
                <a:gd name="T28" fmla="*/ 127 w 13648"/>
                <a:gd name="T29" fmla="*/ 4263 h 6536"/>
                <a:gd name="T30" fmla="*/ 0 w 13648"/>
                <a:gd name="T31" fmla="*/ 4257 h 6536"/>
                <a:gd name="T32" fmla="*/ 0 w 13648"/>
                <a:gd name="T33" fmla="*/ 5575 h 6536"/>
                <a:gd name="T34" fmla="*/ 961 w 13648"/>
                <a:gd name="T35" fmla="*/ 6536 h 6536"/>
                <a:gd name="T36" fmla="*/ 1333 w 13648"/>
                <a:gd name="T37" fmla="*/ 6536 h 6536"/>
                <a:gd name="T38" fmla="*/ 1584 w 13648"/>
                <a:gd name="T39" fmla="*/ 6536 h 6536"/>
                <a:gd name="T40" fmla="*/ 1777 w 13648"/>
                <a:gd name="T41" fmla="*/ 6343 h 6536"/>
                <a:gd name="T42" fmla="*/ 1778 w 13648"/>
                <a:gd name="T43" fmla="*/ 4427 h 6536"/>
                <a:gd name="T44" fmla="*/ 2679 w 13648"/>
                <a:gd name="T45" fmla="*/ 3514 h 6536"/>
                <a:gd name="T46" fmla="*/ 4847 w 13648"/>
                <a:gd name="T47" fmla="*/ 4824 h 6536"/>
                <a:gd name="T48" fmla="*/ 6045 w 13648"/>
                <a:gd name="T49" fmla="*/ 5829 h 6536"/>
                <a:gd name="T50" fmla="*/ 7855 w 13648"/>
                <a:gd name="T51" fmla="*/ 3785 h 6536"/>
                <a:gd name="T52" fmla="*/ 10293 w 13648"/>
                <a:gd name="T53" fmla="*/ 3661 h 6536"/>
                <a:gd name="T54" fmla="*/ 10969 w 13648"/>
                <a:gd name="T55" fmla="*/ 3514 h 6536"/>
                <a:gd name="T56" fmla="*/ 11870 w 13648"/>
                <a:gd name="T57" fmla="*/ 4419 h 6536"/>
                <a:gd name="T58" fmla="*/ 11870 w 13648"/>
                <a:gd name="T59" fmla="*/ 5575 h 6536"/>
                <a:gd name="T60" fmla="*/ 12831 w 13648"/>
                <a:gd name="T61" fmla="*/ 6535 h 6536"/>
                <a:gd name="T62" fmla="*/ 13246 w 13648"/>
                <a:gd name="T63" fmla="*/ 6535 h 6536"/>
                <a:gd name="T64" fmla="*/ 13455 w 13648"/>
                <a:gd name="T65" fmla="*/ 6536 h 6536"/>
                <a:gd name="T66" fmla="*/ 13455 w 13648"/>
                <a:gd name="T67" fmla="*/ 6536 h 6536"/>
                <a:gd name="T68" fmla="*/ 13648 w 13648"/>
                <a:gd name="T69" fmla="*/ 6343 h 6536"/>
                <a:gd name="T70" fmla="*/ 13648 w 13648"/>
                <a:gd name="T71" fmla="*/ 6113 h 6536"/>
                <a:gd name="T72" fmla="*/ 13648 w 13648"/>
                <a:gd name="T73" fmla="*/ 961 h 6536"/>
                <a:gd name="T74" fmla="*/ 12632 w 13648"/>
                <a:gd name="T75" fmla="*/ 3226 h 6536"/>
                <a:gd name="T76" fmla="*/ 11729 w 13648"/>
                <a:gd name="T77" fmla="*/ 2572 h 6536"/>
                <a:gd name="T78" fmla="*/ 10751 w 13648"/>
                <a:gd name="T79" fmla="*/ 1902 h 6536"/>
                <a:gd name="T80" fmla="*/ 12481 w 13648"/>
                <a:gd name="T81" fmla="*/ 1838 h 6536"/>
                <a:gd name="T82" fmla="*/ 12632 w 13648"/>
                <a:gd name="T83" fmla="*/ 3226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648" h="6536">
                  <a:moveTo>
                    <a:pt x="13648" y="961"/>
                  </a:moveTo>
                  <a:cubicBezTo>
                    <a:pt x="13648" y="430"/>
                    <a:pt x="13218" y="0"/>
                    <a:pt x="12687" y="0"/>
                  </a:cubicBezTo>
                  <a:cubicBezTo>
                    <a:pt x="11669" y="0"/>
                    <a:pt x="11669" y="0"/>
                    <a:pt x="11669" y="0"/>
                  </a:cubicBezTo>
                  <a:cubicBezTo>
                    <a:pt x="11618" y="0"/>
                    <a:pt x="11572" y="20"/>
                    <a:pt x="11538" y="53"/>
                  </a:cubicBezTo>
                  <a:cubicBezTo>
                    <a:pt x="9497" y="1968"/>
                    <a:pt x="9497" y="1968"/>
                    <a:pt x="9497" y="1968"/>
                  </a:cubicBezTo>
                  <a:cubicBezTo>
                    <a:pt x="8799" y="2625"/>
                    <a:pt x="7858" y="2994"/>
                    <a:pt x="6824" y="2994"/>
                  </a:cubicBezTo>
                  <a:cubicBezTo>
                    <a:pt x="5746" y="2994"/>
                    <a:pt x="4771" y="2591"/>
                    <a:pt x="4064" y="1885"/>
                  </a:cubicBezTo>
                  <a:cubicBezTo>
                    <a:pt x="4064" y="1885"/>
                    <a:pt x="2564" y="476"/>
                    <a:pt x="2550" y="463"/>
                  </a:cubicBezTo>
                  <a:cubicBezTo>
                    <a:pt x="2262" y="195"/>
                    <a:pt x="1866" y="10"/>
                    <a:pt x="1410" y="0"/>
                  </a:cubicBezTo>
                  <a:cubicBezTo>
                    <a:pt x="192" y="0"/>
                    <a:pt x="192" y="0"/>
                    <a:pt x="192" y="0"/>
                  </a:cubicBezTo>
                  <a:cubicBezTo>
                    <a:pt x="86" y="0"/>
                    <a:pt x="0" y="86"/>
                    <a:pt x="0" y="192"/>
                  </a:cubicBezTo>
                  <a:cubicBezTo>
                    <a:pt x="0" y="309"/>
                    <a:pt x="0" y="309"/>
                    <a:pt x="0" y="309"/>
                  </a:cubicBezTo>
                  <a:cubicBezTo>
                    <a:pt x="42" y="306"/>
                    <a:pt x="84" y="302"/>
                    <a:pt x="127" y="302"/>
                  </a:cubicBezTo>
                  <a:cubicBezTo>
                    <a:pt x="1233" y="302"/>
                    <a:pt x="2129" y="1189"/>
                    <a:pt x="2129" y="2283"/>
                  </a:cubicBezTo>
                  <a:cubicBezTo>
                    <a:pt x="2129" y="3377"/>
                    <a:pt x="1233" y="4263"/>
                    <a:pt x="127" y="4263"/>
                  </a:cubicBezTo>
                  <a:cubicBezTo>
                    <a:pt x="84" y="4263"/>
                    <a:pt x="42" y="4259"/>
                    <a:pt x="0" y="4257"/>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8" y="4427"/>
                    <a:pt x="1778" y="4427"/>
                    <a:pt x="1778" y="4427"/>
                  </a:cubicBezTo>
                  <a:cubicBezTo>
                    <a:pt x="1778" y="3927"/>
                    <a:pt x="2186" y="3514"/>
                    <a:pt x="2679" y="3514"/>
                  </a:cubicBezTo>
                  <a:cubicBezTo>
                    <a:pt x="3595" y="3514"/>
                    <a:pt x="4253" y="4299"/>
                    <a:pt x="4847" y="4824"/>
                  </a:cubicBezTo>
                  <a:cubicBezTo>
                    <a:pt x="5285" y="5211"/>
                    <a:pt x="5663" y="5589"/>
                    <a:pt x="6045" y="5829"/>
                  </a:cubicBezTo>
                  <a:cubicBezTo>
                    <a:pt x="6051" y="5102"/>
                    <a:pt x="6768" y="4257"/>
                    <a:pt x="7855" y="3785"/>
                  </a:cubicBezTo>
                  <a:cubicBezTo>
                    <a:pt x="8772" y="3388"/>
                    <a:pt x="9702" y="3364"/>
                    <a:pt x="10293" y="3661"/>
                  </a:cubicBezTo>
                  <a:cubicBezTo>
                    <a:pt x="10502" y="3570"/>
                    <a:pt x="10726" y="3514"/>
                    <a:pt x="10969" y="3514"/>
                  </a:cubicBezTo>
                  <a:cubicBezTo>
                    <a:pt x="11459" y="3514"/>
                    <a:pt x="11865" y="3922"/>
                    <a:pt x="11870" y="4419"/>
                  </a:cubicBezTo>
                  <a:cubicBezTo>
                    <a:pt x="11870" y="4419"/>
                    <a:pt x="11870" y="5567"/>
                    <a:pt x="11870" y="5575"/>
                  </a:cubicBezTo>
                  <a:cubicBezTo>
                    <a:pt x="11870" y="6106"/>
                    <a:pt x="12300" y="6535"/>
                    <a:pt x="12831" y="6535"/>
                  </a:cubicBezTo>
                  <a:cubicBezTo>
                    <a:pt x="13246" y="6535"/>
                    <a:pt x="13246" y="6535"/>
                    <a:pt x="13246" y="6535"/>
                  </a:cubicBezTo>
                  <a:cubicBezTo>
                    <a:pt x="13355" y="6535"/>
                    <a:pt x="13455" y="6536"/>
                    <a:pt x="13455" y="6536"/>
                  </a:cubicBezTo>
                  <a:cubicBezTo>
                    <a:pt x="13455" y="6536"/>
                    <a:pt x="13455" y="6536"/>
                    <a:pt x="13455" y="6536"/>
                  </a:cubicBezTo>
                  <a:cubicBezTo>
                    <a:pt x="13562" y="6536"/>
                    <a:pt x="13648" y="6449"/>
                    <a:pt x="13648" y="6343"/>
                  </a:cubicBezTo>
                  <a:cubicBezTo>
                    <a:pt x="13648" y="6113"/>
                    <a:pt x="13648" y="6113"/>
                    <a:pt x="13648" y="6113"/>
                  </a:cubicBezTo>
                  <a:cubicBezTo>
                    <a:pt x="13648" y="5089"/>
                    <a:pt x="13648" y="1001"/>
                    <a:pt x="13648" y="961"/>
                  </a:cubicBezTo>
                  <a:close/>
                  <a:moveTo>
                    <a:pt x="12632" y="3226"/>
                  </a:moveTo>
                  <a:cubicBezTo>
                    <a:pt x="12484" y="3174"/>
                    <a:pt x="12284" y="3026"/>
                    <a:pt x="11729" y="2572"/>
                  </a:cubicBezTo>
                  <a:cubicBezTo>
                    <a:pt x="11174" y="2118"/>
                    <a:pt x="10351" y="2391"/>
                    <a:pt x="10751" y="1902"/>
                  </a:cubicBezTo>
                  <a:cubicBezTo>
                    <a:pt x="11151" y="1413"/>
                    <a:pt x="11926" y="1384"/>
                    <a:pt x="12481" y="1838"/>
                  </a:cubicBezTo>
                  <a:cubicBezTo>
                    <a:pt x="13036" y="2292"/>
                    <a:pt x="13229" y="3434"/>
                    <a:pt x="12632" y="3226"/>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Freeform 7"/>
            <p:cNvSpPr>
              <a:spLocks/>
            </p:cNvSpPr>
            <p:nvPr userDrawn="1"/>
          </p:nvSpPr>
          <p:spPr bwMode="gray">
            <a:xfrm>
              <a:off x="4038600" y="2482850"/>
              <a:ext cx="4114800" cy="1970088"/>
            </a:xfrm>
            <a:custGeom>
              <a:avLst/>
              <a:gdLst>
                <a:gd name="T0" fmla="*/ 11932 w 13648"/>
                <a:gd name="T1" fmla="*/ 3358 h 6536"/>
                <a:gd name="T2" fmla="*/ 13648 w 13648"/>
                <a:gd name="T3" fmla="*/ 3699 h 6536"/>
                <a:gd name="T4" fmla="*/ 13648 w 13648"/>
                <a:gd name="T5" fmla="*/ 2168 h 6536"/>
                <a:gd name="T6" fmla="*/ 11489 w 13648"/>
                <a:gd name="T7" fmla="*/ 1768 h 6536"/>
                <a:gd name="T8" fmla="*/ 12716 w 13648"/>
                <a:gd name="T9" fmla="*/ 3 h 6536"/>
                <a:gd name="T10" fmla="*/ 12687 w 13648"/>
                <a:gd name="T11" fmla="*/ 0 h 6536"/>
                <a:gd name="T12" fmla="*/ 11669 w 13648"/>
                <a:gd name="T13" fmla="*/ 0 h 6536"/>
                <a:gd name="T14" fmla="*/ 11538 w 13648"/>
                <a:gd name="T15" fmla="*/ 53 h 6536"/>
                <a:gd name="T16" fmla="*/ 10298 w 13648"/>
                <a:gd name="T17" fmla="*/ 1217 h 6536"/>
                <a:gd name="T18" fmla="*/ 9293 w 13648"/>
                <a:gd name="T19" fmla="*/ 3115 h 6536"/>
                <a:gd name="T20" fmla="*/ 5182 w 13648"/>
                <a:gd name="T21" fmla="*/ 4321 h 6536"/>
                <a:gd name="T22" fmla="*/ 4569 w 13648"/>
                <a:gd name="T23" fmla="*/ 2303 h 6536"/>
                <a:gd name="T24" fmla="*/ 4064 w 13648"/>
                <a:gd name="T25" fmla="*/ 1885 h 6536"/>
                <a:gd name="T26" fmla="*/ 3466 w 13648"/>
                <a:gd name="T27" fmla="*/ 1323 h 6536"/>
                <a:gd name="T28" fmla="*/ 1362 w 13648"/>
                <a:gd name="T29" fmla="*/ 1511 h 6536"/>
                <a:gd name="T30" fmla="*/ 908 w 13648"/>
                <a:gd name="T31" fmla="*/ 0 h 6536"/>
                <a:gd name="T32" fmla="*/ 192 w 13648"/>
                <a:gd name="T33" fmla="*/ 0 h 6536"/>
                <a:gd name="T34" fmla="*/ 0 w 13648"/>
                <a:gd name="T35" fmla="*/ 192 h 6536"/>
                <a:gd name="T36" fmla="*/ 0 w 13648"/>
                <a:gd name="T37" fmla="*/ 5575 h 6536"/>
                <a:gd name="T38" fmla="*/ 961 w 13648"/>
                <a:gd name="T39" fmla="*/ 6536 h 6536"/>
                <a:gd name="T40" fmla="*/ 1333 w 13648"/>
                <a:gd name="T41" fmla="*/ 6536 h 6536"/>
                <a:gd name="T42" fmla="*/ 1584 w 13648"/>
                <a:gd name="T43" fmla="*/ 6536 h 6536"/>
                <a:gd name="T44" fmla="*/ 1777 w 13648"/>
                <a:gd name="T45" fmla="*/ 6343 h 6536"/>
                <a:gd name="T46" fmla="*/ 1777 w 13648"/>
                <a:gd name="T47" fmla="*/ 5509 h 6536"/>
                <a:gd name="T48" fmla="*/ 888 w 13648"/>
                <a:gd name="T49" fmla="*/ 5419 h 6536"/>
                <a:gd name="T50" fmla="*/ 1132 w 13648"/>
                <a:gd name="T51" fmla="*/ 3510 h 6536"/>
                <a:gd name="T52" fmla="*/ 2953 w 13648"/>
                <a:gd name="T53" fmla="*/ 2855 h 6536"/>
                <a:gd name="T54" fmla="*/ 3266 w 13648"/>
                <a:gd name="T55" fmla="*/ 3625 h 6536"/>
                <a:gd name="T56" fmla="*/ 4847 w 13648"/>
                <a:gd name="T57" fmla="*/ 4824 h 6536"/>
                <a:gd name="T58" fmla="*/ 6824 w 13648"/>
                <a:gd name="T59" fmla="*/ 6085 h 6536"/>
                <a:gd name="T60" fmla="*/ 8801 w 13648"/>
                <a:gd name="T61" fmla="*/ 4824 h 6536"/>
                <a:gd name="T62" fmla="*/ 10515 w 13648"/>
                <a:gd name="T63" fmla="*/ 3580 h 6536"/>
                <a:gd name="T64" fmla="*/ 10519 w 13648"/>
                <a:gd name="T65" fmla="*/ 3579 h 6536"/>
                <a:gd name="T66" fmla="*/ 11932 w 13648"/>
                <a:gd name="T67" fmla="*/ 3358 h 6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48" h="6536">
                  <a:moveTo>
                    <a:pt x="11932" y="3358"/>
                  </a:moveTo>
                  <a:cubicBezTo>
                    <a:pt x="12549" y="3358"/>
                    <a:pt x="13129" y="3483"/>
                    <a:pt x="13648" y="3699"/>
                  </a:cubicBezTo>
                  <a:cubicBezTo>
                    <a:pt x="13648" y="3162"/>
                    <a:pt x="13648" y="2624"/>
                    <a:pt x="13648" y="2168"/>
                  </a:cubicBezTo>
                  <a:cubicBezTo>
                    <a:pt x="12897" y="2341"/>
                    <a:pt x="11747" y="2453"/>
                    <a:pt x="11489" y="1768"/>
                  </a:cubicBezTo>
                  <a:cubicBezTo>
                    <a:pt x="11253" y="1142"/>
                    <a:pt x="11893" y="161"/>
                    <a:pt x="12716" y="3"/>
                  </a:cubicBezTo>
                  <a:cubicBezTo>
                    <a:pt x="12706" y="2"/>
                    <a:pt x="12697" y="0"/>
                    <a:pt x="12687" y="0"/>
                  </a:cubicBezTo>
                  <a:cubicBezTo>
                    <a:pt x="11669" y="0"/>
                    <a:pt x="11669" y="0"/>
                    <a:pt x="11669" y="0"/>
                  </a:cubicBezTo>
                  <a:cubicBezTo>
                    <a:pt x="11618" y="0"/>
                    <a:pt x="11572" y="20"/>
                    <a:pt x="11538" y="53"/>
                  </a:cubicBezTo>
                  <a:cubicBezTo>
                    <a:pt x="10298" y="1217"/>
                    <a:pt x="10298" y="1217"/>
                    <a:pt x="10298" y="1217"/>
                  </a:cubicBezTo>
                  <a:cubicBezTo>
                    <a:pt x="10132" y="1855"/>
                    <a:pt x="9794" y="2520"/>
                    <a:pt x="9293" y="3115"/>
                  </a:cubicBezTo>
                  <a:cubicBezTo>
                    <a:pt x="8033" y="4612"/>
                    <a:pt x="6154" y="5214"/>
                    <a:pt x="5182" y="4321"/>
                  </a:cubicBezTo>
                  <a:cubicBezTo>
                    <a:pt x="4669" y="3850"/>
                    <a:pt x="4468" y="3114"/>
                    <a:pt x="4569" y="2303"/>
                  </a:cubicBezTo>
                  <a:cubicBezTo>
                    <a:pt x="4390" y="2178"/>
                    <a:pt x="4219" y="2040"/>
                    <a:pt x="4064" y="1885"/>
                  </a:cubicBezTo>
                  <a:cubicBezTo>
                    <a:pt x="4064" y="1885"/>
                    <a:pt x="3784" y="1623"/>
                    <a:pt x="3466" y="1323"/>
                  </a:cubicBezTo>
                  <a:cubicBezTo>
                    <a:pt x="2590" y="2124"/>
                    <a:pt x="1943" y="2023"/>
                    <a:pt x="1362" y="1511"/>
                  </a:cubicBezTo>
                  <a:cubicBezTo>
                    <a:pt x="1086" y="1269"/>
                    <a:pt x="912" y="614"/>
                    <a:pt x="908" y="0"/>
                  </a:cubicBezTo>
                  <a:cubicBezTo>
                    <a:pt x="192" y="0"/>
                    <a:pt x="192" y="0"/>
                    <a:pt x="192" y="0"/>
                  </a:cubicBezTo>
                  <a:cubicBezTo>
                    <a:pt x="86" y="0"/>
                    <a:pt x="0" y="86"/>
                    <a:pt x="0" y="192"/>
                  </a:cubicBezTo>
                  <a:cubicBezTo>
                    <a:pt x="0" y="5575"/>
                    <a:pt x="0" y="5575"/>
                    <a:pt x="0" y="5575"/>
                  </a:cubicBezTo>
                  <a:cubicBezTo>
                    <a:pt x="0" y="6106"/>
                    <a:pt x="430" y="6536"/>
                    <a:pt x="961" y="6536"/>
                  </a:cubicBezTo>
                  <a:cubicBezTo>
                    <a:pt x="1333" y="6536"/>
                    <a:pt x="1333" y="6536"/>
                    <a:pt x="1333" y="6536"/>
                  </a:cubicBezTo>
                  <a:cubicBezTo>
                    <a:pt x="1584" y="6536"/>
                    <a:pt x="1584" y="6536"/>
                    <a:pt x="1584" y="6536"/>
                  </a:cubicBezTo>
                  <a:cubicBezTo>
                    <a:pt x="1691" y="6536"/>
                    <a:pt x="1777" y="6449"/>
                    <a:pt x="1777" y="6343"/>
                  </a:cubicBezTo>
                  <a:cubicBezTo>
                    <a:pt x="1777" y="5509"/>
                    <a:pt x="1777" y="5509"/>
                    <a:pt x="1777" y="5509"/>
                  </a:cubicBezTo>
                  <a:cubicBezTo>
                    <a:pt x="1435" y="5629"/>
                    <a:pt x="1123" y="5594"/>
                    <a:pt x="888" y="5419"/>
                  </a:cubicBezTo>
                  <a:cubicBezTo>
                    <a:pt x="469" y="5108"/>
                    <a:pt x="558" y="4229"/>
                    <a:pt x="1132" y="3510"/>
                  </a:cubicBezTo>
                  <a:cubicBezTo>
                    <a:pt x="1704" y="2759"/>
                    <a:pt x="2537" y="2539"/>
                    <a:pt x="2953" y="2855"/>
                  </a:cubicBezTo>
                  <a:cubicBezTo>
                    <a:pt x="3161" y="3012"/>
                    <a:pt x="3285" y="3285"/>
                    <a:pt x="3266" y="3625"/>
                  </a:cubicBezTo>
                  <a:cubicBezTo>
                    <a:pt x="3891" y="3860"/>
                    <a:pt x="4388" y="4418"/>
                    <a:pt x="4847" y="4824"/>
                  </a:cubicBezTo>
                  <a:cubicBezTo>
                    <a:pt x="5574" y="5466"/>
                    <a:pt x="6134" y="6085"/>
                    <a:pt x="6824" y="6085"/>
                  </a:cubicBezTo>
                  <a:cubicBezTo>
                    <a:pt x="7513" y="6085"/>
                    <a:pt x="8073" y="5466"/>
                    <a:pt x="8801" y="4824"/>
                  </a:cubicBezTo>
                  <a:cubicBezTo>
                    <a:pt x="9292" y="4390"/>
                    <a:pt x="9827" y="3779"/>
                    <a:pt x="10515" y="3580"/>
                  </a:cubicBezTo>
                  <a:cubicBezTo>
                    <a:pt x="10517" y="3580"/>
                    <a:pt x="10517" y="3580"/>
                    <a:pt x="10519" y="3579"/>
                  </a:cubicBezTo>
                  <a:cubicBezTo>
                    <a:pt x="10948" y="3445"/>
                    <a:pt x="11450" y="3358"/>
                    <a:pt x="11932" y="335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250367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5" name="Footer Placeholder 14"/>
          <p:cNvSpPr>
            <a:spLocks noGrp="1"/>
          </p:cNvSpPr>
          <p:nvPr>
            <p:ph type="ftr" sz="quarter" idx="17"/>
          </p:nvPr>
        </p:nvSpPr>
        <p:spPr bwMode="gray"/>
        <p:txBody>
          <a:bodyPr/>
          <a:lstStyle/>
          <a:p>
            <a:r>
              <a:rPr lang="en-GB"/>
              <a:t>Data Exchange with Merck | December 2021</a:t>
            </a:r>
            <a:endParaRPr lang="en-US"/>
          </a:p>
        </p:txBody>
      </p:sp>
      <p:sp>
        <p:nvSpPr>
          <p:cNvPr id="16" name="Slide Number Placeholder 15"/>
          <p:cNvSpPr>
            <a:spLocks noGrp="1"/>
          </p:cNvSpPr>
          <p:nvPr>
            <p:ph type="sldNum" sz="quarter" idx="18"/>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14" name="Content Placeholder 13"/>
          <p:cNvSpPr>
            <a:spLocks noGrp="1"/>
          </p:cNvSpPr>
          <p:nvPr>
            <p:ph sz="quarter" idx="16" hasCustomPrompt="1"/>
          </p:nvPr>
        </p:nvSpPr>
        <p:spPr bwMode="gray">
          <a:xfrm>
            <a:off x="6240464" y="1484313"/>
            <a:ext cx="5327650"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15" hasCustomPrompt="1"/>
          </p:nvPr>
        </p:nvSpPr>
        <p:spPr bwMode="gray">
          <a:xfrm>
            <a:off x="623392" y="1484313"/>
            <a:ext cx="5327650"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 </a:t>
            </a:r>
          </a:p>
        </p:txBody>
      </p:sp>
      <p:sp>
        <p:nvSpPr>
          <p:cNvPr id="4" name="Title 3"/>
          <p:cNvSpPr>
            <a:spLocks noGrp="1"/>
          </p:cNvSpPr>
          <p:nvPr>
            <p:ph type="title" hasCustomPrompt="1"/>
          </p:nvPr>
        </p:nvSpPr>
        <p:spPr bwMode="gray"/>
        <p:txBody>
          <a:bodyPr/>
          <a:lstStyle/>
          <a:p>
            <a:r>
              <a:rPr lang="en-US"/>
              <a:t>Insert slide title here (max. 2 lines | max. 1 line with Action Title)</a:t>
            </a:r>
          </a:p>
        </p:txBody>
      </p:sp>
    </p:spTree>
    <p:extLst>
      <p:ext uri="{BB962C8B-B14F-4D97-AF65-F5344CB8AC3E}">
        <p14:creationId xmlns:p14="http://schemas.microsoft.com/office/powerpoint/2010/main" val="2939718653"/>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3" name="Slide Number Placeholder 12"/>
          <p:cNvSpPr>
            <a:spLocks noGrp="1"/>
          </p:cNvSpPr>
          <p:nvPr>
            <p:ph type="sldNum" sz="quarter" idx="16"/>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11" name="Content Placeholder 10"/>
          <p:cNvSpPr>
            <a:spLocks noGrp="1"/>
          </p:cNvSpPr>
          <p:nvPr>
            <p:ph sz="quarter" idx="14" hasCustomPrompt="1"/>
          </p:nvPr>
        </p:nvSpPr>
        <p:spPr bwMode="gray">
          <a:xfrm>
            <a:off x="623888" y="1484313"/>
            <a:ext cx="10944227" cy="4608511"/>
          </a:xfrm>
        </p:spPr>
        <p:txBody>
          <a:bodyPr/>
          <a:lstStyle>
            <a:lvl1pPr marL="0" marR="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lvl1pPr>
            <a:lvl5pPr>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 </a:t>
            </a:r>
          </a:p>
        </p:txBody>
      </p:sp>
      <p:sp>
        <p:nvSpPr>
          <p:cNvPr id="4" name="Title 3"/>
          <p:cNvSpPr>
            <a:spLocks noGrp="1"/>
          </p:cNvSpPr>
          <p:nvPr>
            <p:ph type="title" hasCustomPrompt="1"/>
          </p:nvPr>
        </p:nvSpPr>
        <p:spPr bwMode="gray">
          <a:xfrm>
            <a:off x="623888" y="730800"/>
            <a:ext cx="10944225" cy="325952"/>
          </a:xfrm>
        </p:spPr>
        <p:txBody>
          <a:bodyPr/>
          <a:lstStyle>
            <a:lvl1pPr>
              <a:defRPr/>
            </a:lvl1pPr>
          </a:lstStyle>
          <a:p>
            <a:r>
              <a:rPr lang="en-US"/>
              <a:t>Insert slide title here (max. 2 lines | max. 1 line with Action Title)</a:t>
            </a:r>
          </a:p>
        </p:txBody>
      </p:sp>
      <p:sp>
        <p:nvSpPr>
          <p:cNvPr id="10" name="Footer Placeholder 1"/>
          <p:cNvSpPr>
            <a:spLocks noGrp="1"/>
          </p:cNvSpPr>
          <p:nvPr>
            <p:ph type="ftr" sz="quarter" idx="10"/>
          </p:nvPr>
        </p:nvSpPr>
        <p:spPr bwMode="gray">
          <a:xfrm>
            <a:off x="1272000" y="6380999"/>
            <a:ext cx="8718972" cy="216172"/>
          </a:xfrm>
        </p:spPr>
        <p:txBody>
          <a:bodyPr/>
          <a:lstStyle/>
          <a:p>
            <a:r>
              <a:rPr lang="en-GB"/>
              <a:t>Data Exchange with Merck | December 2021</a:t>
            </a:r>
            <a:endParaRPr lang="en-US"/>
          </a:p>
        </p:txBody>
      </p:sp>
    </p:spTree>
    <p:extLst>
      <p:ext uri="{BB962C8B-B14F-4D97-AF65-F5344CB8AC3E}">
        <p14:creationId xmlns:p14="http://schemas.microsoft.com/office/powerpoint/2010/main" val="3706804124"/>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2" name="Footer Placeholder 11"/>
          <p:cNvSpPr>
            <a:spLocks noGrp="1"/>
          </p:cNvSpPr>
          <p:nvPr>
            <p:ph type="ftr" sz="quarter" idx="16"/>
          </p:nvPr>
        </p:nvSpPr>
        <p:spPr bwMode="gray"/>
        <p:txBody>
          <a:bodyPr/>
          <a:lstStyle/>
          <a:p>
            <a:r>
              <a:rPr lang="en-GB" noProof="0"/>
              <a:t>Data Exchange with Merck | December 2021</a:t>
            </a:r>
            <a:endParaRPr lang="en-US" noProof="0"/>
          </a:p>
        </p:txBody>
      </p:sp>
      <p:sp>
        <p:nvSpPr>
          <p:cNvPr id="13" name="Slide Number Placeholder 12"/>
          <p:cNvSpPr>
            <a:spLocks noGrp="1"/>
          </p:cNvSpPr>
          <p:nvPr>
            <p:ph type="sldNum" sz="quarter" idx="17"/>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15" name="Content Placeholder 14"/>
          <p:cNvSpPr>
            <a:spLocks noGrp="1"/>
          </p:cNvSpPr>
          <p:nvPr>
            <p:ph sz="quarter" idx="18" hasCustomPrompt="1"/>
          </p:nvPr>
        </p:nvSpPr>
        <p:spPr bwMode="gray">
          <a:xfrm>
            <a:off x="624845" y="1484314"/>
            <a:ext cx="3454931"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9" hasCustomPrompt="1"/>
          </p:nvPr>
        </p:nvSpPr>
        <p:spPr bwMode="gray">
          <a:xfrm>
            <a:off x="4368803" y="1484314"/>
            <a:ext cx="3455986"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8"/>
          <p:cNvSpPr>
            <a:spLocks noGrp="1"/>
          </p:cNvSpPr>
          <p:nvPr>
            <p:ph sz="quarter" idx="20" hasCustomPrompt="1"/>
          </p:nvPr>
        </p:nvSpPr>
        <p:spPr bwMode="gray">
          <a:xfrm>
            <a:off x="8112000" y="1484313"/>
            <a:ext cx="3456000"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 </a:t>
            </a:r>
          </a:p>
        </p:txBody>
      </p:sp>
      <p:sp>
        <p:nvSpPr>
          <p:cNvPr id="4" name="Title 3"/>
          <p:cNvSpPr>
            <a:spLocks noGrp="1"/>
          </p:cNvSpPr>
          <p:nvPr>
            <p:ph type="title" hasCustomPrompt="1"/>
          </p:nvPr>
        </p:nvSpPr>
        <p:spPr bwMode="gray"/>
        <p:txBody>
          <a:bodyPr/>
          <a:lstStyle/>
          <a:p>
            <a:r>
              <a:rPr lang="en-US"/>
              <a:t>Insert slide title here (max. 2 lines | max. 1 line with Action Title)</a:t>
            </a:r>
          </a:p>
        </p:txBody>
      </p:sp>
    </p:spTree>
    <p:extLst>
      <p:ext uri="{BB962C8B-B14F-4D97-AF65-F5344CB8AC3E}">
        <p14:creationId xmlns:p14="http://schemas.microsoft.com/office/powerpoint/2010/main" val="3943816950"/>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Contents">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2" name="Footer Placeholder 11"/>
          <p:cNvSpPr>
            <a:spLocks noGrp="1"/>
          </p:cNvSpPr>
          <p:nvPr>
            <p:ph type="ftr" sz="quarter" idx="17"/>
          </p:nvPr>
        </p:nvSpPr>
        <p:spPr bwMode="gray"/>
        <p:txBody>
          <a:bodyPr/>
          <a:lstStyle/>
          <a:p>
            <a:r>
              <a:rPr lang="en-GB" noProof="0"/>
              <a:t>Data Exchange with Merck | December 2021</a:t>
            </a:r>
            <a:endParaRPr lang="en-US" noProof="0"/>
          </a:p>
        </p:txBody>
      </p:sp>
      <p:sp>
        <p:nvSpPr>
          <p:cNvPr id="14" name="Slide Number Placeholder 13"/>
          <p:cNvSpPr>
            <a:spLocks noGrp="1"/>
          </p:cNvSpPr>
          <p:nvPr>
            <p:ph type="sldNum" sz="quarter" idx="18"/>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16" name="Content Placeholder 15"/>
          <p:cNvSpPr>
            <a:spLocks noGrp="1"/>
          </p:cNvSpPr>
          <p:nvPr>
            <p:ph sz="quarter" idx="19" hasCustomPrompt="1"/>
          </p:nvPr>
        </p:nvSpPr>
        <p:spPr bwMode="gray">
          <a:xfrm>
            <a:off x="624125" y="1484314"/>
            <a:ext cx="2519125"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a:t>
            </a:r>
            <a:br>
              <a:rPr lang="en-US"/>
            </a:br>
            <a:r>
              <a:rPr lang="en-US"/>
              <a:t>for </a:t>
            </a:r>
            <a:r>
              <a:rPr lang="en-US" err="1"/>
              <a:t>copytext</a:t>
            </a:r>
            <a:r>
              <a:rPr lang="en-US"/>
              <a:t> or bullet levels. </a:t>
            </a:r>
          </a:p>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7"/>
          <p:cNvSpPr>
            <a:spLocks noGrp="1"/>
          </p:cNvSpPr>
          <p:nvPr>
            <p:ph sz="quarter" idx="20" hasCustomPrompt="1"/>
          </p:nvPr>
        </p:nvSpPr>
        <p:spPr bwMode="gray">
          <a:xfrm>
            <a:off x="3432159" y="1484314"/>
            <a:ext cx="2519825"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Or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9"/>
          <p:cNvSpPr>
            <a:spLocks noGrp="1"/>
          </p:cNvSpPr>
          <p:nvPr>
            <p:ph sz="quarter" idx="21" hasCustomPrompt="1"/>
          </p:nvPr>
        </p:nvSpPr>
        <p:spPr bwMode="gray">
          <a:xfrm>
            <a:off x="6240000" y="1484313"/>
            <a:ext cx="2519825"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a:t>
            </a:r>
            <a:br>
              <a:rPr lang="en-US"/>
            </a:br>
            <a:r>
              <a:rPr lang="en-US"/>
              <a:t>for </a:t>
            </a:r>
            <a:r>
              <a:rPr lang="en-US" err="1"/>
              <a:t>copytext</a:t>
            </a:r>
            <a:r>
              <a:rPr lang="en-US"/>
              <a:t> or bullet levels. </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21"/>
          <p:cNvSpPr>
            <a:spLocks noGrp="1"/>
          </p:cNvSpPr>
          <p:nvPr>
            <p:ph sz="quarter" idx="22" hasCustomPrompt="1"/>
          </p:nvPr>
        </p:nvSpPr>
        <p:spPr bwMode="gray">
          <a:xfrm>
            <a:off x="9048750" y="1484313"/>
            <a:ext cx="2518051"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Or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 </a:t>
            </a:r>
          </a:p>
        </p:txBody>
      </p:sp>
      <p:sp>
        <p:nvSpPr>
          <p:cNvPr id="4" name="Title 3"/>
          <p:cNvSpPr>
            <a:spLocks noGrp="1"/>
          </p:cNvSpPr>
          <p:nvPr>
            <p:ph type="title" hasCustomPrompt="1"/>
          </p:nvPr>
        </p:nvSpPr>
        <p:spPr bwMode="gray"/>
        <p:txBody>
          <a:bodyPr/>
          <a:lstStyle/>
          <a:p>
            <a:r>
              <a:rPr lang="en-US"/>
              <a:t>Insert slide title here (max. 2 lines | max. 1 line with Action Title)</a:t>
            </a:r>
          </a:p>
        </p:txBody>
      </p:sp>
    </p:spTree>
    <p:extLst>
      <p:ext uri="{BB962C8B-B14F-4D97-AF65-F5344CB8AC3E}">
        <p14:creationId xmlns:p14="http://schemas.microsoft.com/office/powerpoint/2010/main" val="1091552270"/>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and Notice">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6" name="Footer Placeholder 5"/>
          <p:cNvSpPr>
            <a:spLocks noGrp="1"/>
          </p:cNvSpPr>
          <p:nvPr>
            <p:ph type="ftr" sz="quarter" idx="10"/>
          </p:nvPr>
        </p:nvSpPr>
        <p:spPr bwMode="gray"/>
        <p:txBody>
          <a:bodyPr/>
          <a:lstStyle/>
          <a:p>
            <a:r>
              <a:rPr lang="en-GB" noProof="0"/>
              <a:t>Data Exchange with Merck | December 2021</a:t>
            </a:r>
            <a:endParaRPr lang="en-US" noProof="0"/>
          </a:p>
        </p:txBody>
      </p:sp>
      <p:sp>
        <p:nvSpPr>
          <p:cNvPr id="12" name="Slide Number Placeholder 11"/>
          <p:cNvSpPr>
            <a:spLocks noGrp="1"/>
          </p:cNvSpPr>
          <p:nvPr>
            <p:ph type="sldNum" sz="quarter" idx="11"/>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15" name="Content Placeholder 14"/>
          <p:cNvSpPr>
            <a:spLocks noGrp="1"/>
          </p:cNvSpPr>
          <p:nvPr>
            <p:ph sz="quarter" idx="14" hasCustomPrompt="1"/>
          </p:nvPr>
        </p:nvSpPr>
        <p:spPr bwMode="gray">
          <a:xfrm>
            <a:off x="623888" y="1484312"/>
            <a:ext cx="8135936" cy="4608517"/>
          </a:xfrm>
        </p:spPr>
        <p:txBody>
          <a:bodyPr/>
          <a:lstStyle>
            <a:lvl1pPr>
              <a:lnSpc>
                <a:spcPct val="105000"/>
              </a:lnSpc>
              <a:defRPr baseline="0"/>
            </a:lvl1pPr>
            <a:lvl2pPr>
              <a:lnSpc>
                <a:spcPct val="105000"/>
              </a:lnSpc>
              <a:defRPr/>
            </a:lvl2pPr>
            <a:lvl3pPr>
              <a:lnSpc>
                <a:spcPct val="105000"/>
              </a:lnSpc>
              <a:defRPr/>
            </a:lvl3pPr>
            <a:lvl4pPr>
              <a:lnSpc>
                <a:spcPct val="105000"/>
              </a:lnSpc>
              <a:defRPr/>
            </a:lvl4pPr>
            <a:lvl5pPr>
              <a:lnSpc>
                <a:spcPct val="105000"/>
              </a:lnSpc>
              <a:defRPr/>
            </a:lvl5pPr>
          </a:lstStyle>
          <a:p>
            <a:pPr lvl="0"/>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5" hasCustomPrompt="1"/>
          </p:nvPr>
        </p:nvSpPr>
        <p:spPr bwMode="gray">
          <a:xfrm>
            <a:off x="9048750" y="1484313"/>
            <a:ext cx="2518051" cy="4608512"/>
          </a:xfrm>
        </p:spPr>
        <p:txBody>
          <a:bodyPr>
            <a:noAutofit/>
          </a:bodyPr>
          <a:lstStyle>
            <a:lvl1pPr>
              <a:lnSpc>
                <a:spcPct val="105000"/>
              </a:lnSpc>
              <a:defRPr sz="1200" baseline="0">
                <a:solidFill>
                  <a:schemeClr val="accent1"/>
                </a:solidFill>
              </a:defRPr>
            </a:lvl1pPr>
            <a:lvl2pPr>
              <a:lnSpc>
                <a:spcPct val="105000"/>
              </a:lnSpc>
              <a:defRPr sz="1200">
                <a:solidFill>
                  <a:schemeClr val="accent1"/>
                </a:solidFill>
              </a:defRPr>
            </a:lvl2pPr>
            <a:lvl3pPr>
              <a:lnSpc>
                <a:spcPct val="105000"/>
              </a:lnSpc>
              <a:defRPr sz="1200">
                <a:solidFill>
                  <a:schemeClr val="accent1"/>
                </a:solidFill>
              </a:defRPr>
            </a:lvl3pPr>
            <a:lvl4pPr>
              <a:lnSpc>
                <a:spcPct val="105000"/>
              </a:lnSpc>
              <a:defRPr sz="1200">
                <a:solidFill>
                  <a:schemeClr val="accent1"/>
                </a:solidFill>
              </a:defRPr>
            </a:lvl4pPr>
            <a:lvl5pPr>
              <a:lnSpc>
                <a:spcPct val="105000"/>
              </a:lnSpc>
              <a:defRPr sz="1200">
                <a:solidFill>
                  <a:schemeClr val="accent1"/>
                </a:solidFill>
              </a:defRPr>
            </a:lvl5pPr>
            <a:lvl6pPr>
              <a:defRPr sz="1200">
                <a:solidFill>
                  <a:schemeClr val="accent1"/>
                </a:solidFill>
              </a:defRPr>
            </a:lvl6pPr>
            <a:lvl7pPr>
              <a:defRPr sz="1200">
                <a:solidFill>
                  <a:schemeClr val="accent1"/>
                </a:solidFill>
              </a:defRPr>
            </a:lvl7pPr>
            <a:lvl8pPr>
              <a:defRPr sz="1200">
                <a:solidFill>
                  <a:schemeClr val="accent1"/>
                </a:solidFill>
              </a:defRPr>
            </a:lvl8pPr>
            <a:lvl9pPr>
              <a:defRPr sz="1200">
                <a:solidFill>
                  <a:schemeClr val="accent1"/>
                </a:solidFill>
              </a:defRPr>
            </a:lvl9pPr>
          </a:lstStyle>
          <a:p>
            <a:pPr lvl="0"/>
            <a:r>
              <a:rPr lang="en-US"/>
              <a:t>You can use this field to enter marginal note, a table, a diagram or a SmartAr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 </a:t>
            </a:r>
          </a:p>
        </p:txBody>
      </p:sp>
      <p:sp>
        <p:nvSpPr>
          <p:cNvPr id="4" name="Title 3"/>
          <p:cNvSpPr>
            <a:spLocks noGrp="1"/>
          </p:cNvSpPr>
          <p:nvPr>
            <p:ph type="title" hasCustomPrompt="1"/>
          </p:nvPr>
        </p:nvSpPr>
        <p:spPr bwMode="gray"/>
        <p:txBody>
          <a:bodyPr/>
          <a:lstStyle/>
          <a:p>
            <a:r>
              <a:rPr lang="en-US"/>
              <a:t>Insert slide title here (max. 2 lines | max. 1 line with Action Title)</a:t>
            </a:r>
          </a:p>
        </p:txBody>
      </p:sp>
    </p:spTree>
    <p:extLst>
      <p:ext uri="{BB962C8B-B14F-4D97-AF65-F5344CB8AC3E}">
        <p14:creationId xmlns:p14="http://schemas.microsoft.com/office/powerpoint/2010/main" val="2638828299"/>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ntents and Notice">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5" name="Footer Placeholder 4"/>
          <p:cNvSpPr>
            <a:spLocks noGrp="1"/>
          </p:cNvSpPr>
          <p:nvPr>
            <p:ph type="ftr" sz="quarter" idx="17"/>
          </p:nvPr>
        </p:nvSpPr>
        <p:spPr bwMode="gray"/>
        <p:txBody>
          <a:bodyPr/>
          <a:lstStyle/>
          <a:p>
            <a:r>
              <a:rPr lang="en-GB" noProof="0"/>
              <a:t>Data Exchange with Merck | December 2021</a:t>
            </a:r>
            <a:endParaRPr lang="en-US" noProof="0"/>
          </a:p>
        </p:txBody>
      </p:sp>
      <p:sp>
        <p:nvSpPr>
          <p:cNvPr id="14" name="Slide Number Placeholder 13"/>
          <p:cNvSpPr>
            <a:spLocks noGrp="1"/>
          </p:cNvSpPr>
          <p:nvPr>
            <p:ph type="sldNum" sz="quarter" idx="18"/>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16" name="Content Placeholder 15"/>
          <p:cNvSpPr>
            <a:spLocks noGrp="1"/>
          </p:cNvSpPr>
          <p:nvPr>
            <p:ph sz="quarter" idx="19" hasCustomPrompt="1"/>
          </p:nvPr>
        </p:nvSpPr>
        <p:spPr bwMode="gray">
          <a:xfrm>
            <a:off x="623888" y="1484312"/>
            <a:ext cx="3960000" cy="4608517"/>
          </a:xfrm>
        </p:spPr>
        <p:txBody>
          <a:bodyPr/>
          <a:lstStyle>
            <a:lvl1pPr>
              <a:defRPr/>
            </a:lvl1pPr>
          </a:lstStyle>
          <a:p>
            <a:pPr lvl="0"/>
            <a:r>
              <a:rPr lang="en-US"/>
              <a:t>You can use this field to enter text, a table, a diagram, a </a:t>
            </a:r>
            <a:r>
              <a:rPr lang="en-US" err="1"/>
              <a:t>SmartArts</a:t>
            </a:r>
            <a:r>
              <a:rPr lang="en-US"/>
              <a:t> or tex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7"/>
          <p:cNvSpPr>
            <a:spLocks noGrp="1"/>
          </p:cNvSpPr>
          <p:nvPr>
            <p:ph sz="quarter" idx="20" hasCustomPrompt="1"/>
          </p:nvPr>
        </p:nvSpPr>
        <p:spPr bwMode="gray">
          <a:xfrm>
            <a:off x="4872296" y="1484312"/>
            <a:ext cx="3888000" cy="4608517"/>
          </a:xfrm>
        </p:spPr>
        <p:txBody>
          <a:bodyPr/>
          <a:lstStyle>
            <a:lvl1pPr>
              <a:defRPr/>
            </a:lvl1pPr>
          </a:lstStyle>
          <a:p>
            <a:pPr lvl="0"/>
            <a:r>
              <a:rPr lang="en-US"/>
              <a:t>You can use this field to enter text, a table, a diagram, a </a:t>
            </a:r>
            <a:r>
              <a:rPr lang="en-US" err="1"/>
              <a:t>SmartArts</a:t>
            </a:r>
            <a:r>
              <a:rPr lang="en-US"/>
              <a:t> or tex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9"/>
          <p:cNvSpPr>
            <a:spLocks noGrp="1"/>
          </p:cNvSpPr>
          <p:nvPr>
            <p:ph sz="quarter" idx="21" hasCustomPrompt="1"/>
          </p:nvPr>
        </p:nvSpPr>
        <p:spPr bwMode="gray">
          <a:xfrm>
            <a:off x="9048750" y="1484313"/>
            <a:ext cx="2518051" cy="4608512"/>
          </a:xfrm>
        </p:spPr>
        <p:txBody>
          <a:bodyPr>
            <a:noAutofit/>
          </a:bodyPr>
          <a:lstStyle>
            <a:lvl1pPr>
              <a:defRPr sz="1200" baseline="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vl5pPr>
              <a:defRPr sz="1200">
                <a:solidFill>
                  <a:schemeClr val="accent1"/>
                </a:solidFill>
              </a:defRPr>
            </a:lvl5pPr>
            <a:lvl6pPr>
              <a:defRPr sz="1200">
                <a:solidFill>
                  <a:schemeClr val="accent1"/>
                </a:solidFill>
              </a:defRPr>
            </a:lvl6pPr>
            <a:lvl7pPr>
              <a:defRPr sz="1200">
                <a:solidFill>
                  <a:schemeClr val="accent1"/>
                </a:solidFill>
              </a:defRPr>
            </a:lvl7pPr>
            <a:lvl8pPr>
              <a:defRPr sz="1200">
                <a:solidFill>
                  <a:schemeClr val="accent1"/>
                </a:solidFill>
              </a:defRPr>
            </a:lvl8pPr>
            <a:lvl9pPr>
              <a:defRPr sz="1200">
                <a:solidFill>
                  <a:schemeClr val="accent1"/>
                </a:solidFill>
              </a:defRPr>
            </a:lvl9pPr>
          </a:lstStyle>
          <a:p>
            <a:pPr lvl="0"/>
            <a:r>
              <a:rPr lang="en-US"/>
              <a:t>You can use this field to enter marginal note, a table, a diagram or a SmartAr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 </a:t>
            </a:r>
          </a:p>
        </p:txBody>
      </p:sp>
      <p:sp>
        <p:nvSpPr>
          <p:cNvPr id="4" name="Title 3"/>
          <p:cNvSpPr>
            <a:spLocks noGrp="1"/>
          </p:cNvSpPr>
          <p:nvPr>
            <p:ph type="title" hasCustomPrompt="1"/>
          </p:nvPr>
        </p:nvSpPr>
        <p:spPr bwMode="gray"/>
        <p:txBody>
          <a:bodyPr/>
          <a:lstStyle/>
          <a:p>
            <a:r>
              <a:rPr lang="en-US"/>
              <a:t>Insert slide title here (max. 2 lines | max. 1 line with Action Title)</a:t>
            </a:r>
          </a:p>
        </p:txBody>
      </p:sp>
    </p:spTree>
    <p:extLst>
      <p:ext uri="{BB962C8B-B14F-4D97-AF65-F5344CB8AC3E}">
        <p14:creationId xmlns:p14="http://schemas.microsoft.com/office/powerpoint/2010/main" val="3817865432"/>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ig Picture and Notice">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5" name="Footer Placeholder 4"/>
          <p:cNvSpPr>
            <a:spLocks noGrp="1"/>
          </p:cNvSpPr>
          <p:nvPr>
            <p:ph type="ftr" sz="quarter" idx="16"/>
          </p:nvPr>
        </p:nvSpPr>
        <p:spPr bwMode="gray"/>
        <p:txBody>
          <a:bodyPr/>
          <a:lstStyle/>
          <a:p>
            <a:r>
              <a:rPr lang="en-GB" noProof="0"/>
              <a:t>Data Exchange with Merck | December 2021</a:t>
            </a:r>
            <a:endParaRPr lang="en-US" noProof="0"/>
          </a:p>
        </p:txBody>
      </p:sp>
      <p:sp>
        <p:nvSpPr>
          <p:cNvPr id="6" name="Slide Number Placeholder 5"/>
          <p:cNvSpPr>
            <a:spLocks noGrp="1"/>
          </p:cNvSpPr>
          <p:nvPr>
            <p:ph type="sldNum" sz="quarter" idx="17"/>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17" name="Content Placeholder 16"/>
          <p:cNvSpPr>
            <a:spLocks noGrp="1"/>
          </p:cNvSpPr>
          <p:nvPr>
            <p:ph sz="quarter" idx="19" hasCustomPrompt="1"/>
          </p:nvPr>
        </p:nvSpPr>
        <p:spPr bwMode="gray">
          <a:xfrm>
            <a:off x="9048750" y="1484310"/>
            <a:ext cx="2518051" cy="4608515"/>
          </a:xfrm>
        </p:spPr>
        <p:txBody>
          <a:bodyPr>
            <a:no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vl5pPr>
              <a:defRPr sz="1200">
                <a:solidFill>
                  <a:schemeClr val="accent1"/>
                </a:solidFill>
              </a:defRPr>
            </a:lvl5pPr>
          </a:lstStyle>
          <a:p>
            <a:pPr lvl="0"/>
            <a:r>
              <a:rPr lang="en-US"/>
              <a:t>You can use this field to enter marginal note, a table, a diagram or a SmartAr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Picture Placeholder 14"/>
          <p:cNvSpPr>
            <a:spLocks noGrp="1"/>
          </p:cNvSpPr>
          <p:nvPr>
            <p:ph type="pic" sz="quarter" idx="18"/>
          </p:nvPr>
        </p:nvSpPr>
        <p:spPr bwMode="gray">
          <a:xfrm>
            <a:off x="623888" y="1484310"/>
            <a:ext cx="8135936" cy="4608515"/>
          </a:xfrm>
          <a:solidFill>
            <a:schemeClr val="bg1">
              <a:lumMod val="75000"/>
            </a:schemeClr>
          </a:solidFill>
        </p:spPr>
        <p:txBody>
          <a:bodyPr tIns="360000" anchor="ctr"/>
          <a:lstStyle>
            <a:lvl1pPr marL="0" indent="0" algn="ctr">
              <a:spcBef>
                <a:spcPts val="0"/>
              </a:spcBef>
              <a:spcAft>
                <a:spcPts val="0"/>
              </a:spcAft>
              <a:buFont typeface="Arial" panose="020B0604020202020204" pitchFamily="34" charset="0"/>
              <a:buNone/>
              <a:defRPr sz="1000"/>
            </a:lvl1pPr>
            <a:lvl2pPr marL="0" indent="0" algn="ctr">
              <a:spcBef>
                <a:spcPts val="0"/>
              </a:spcBef>
              <a:spcAft>
                <a:spcPts val="0"/>
              </a:spcAft>
              <a:buNone/>
              <a:defRPr sz="1000"/>
            </a:lvl2pPr>
            <a:lvl3pPr marL="0" indent="0" algn="ctr">
              <a:spcBef>
                <a:spcPts val="0"/>
              </a:spcBef>
              <a:spcAft>
                <a:spcPts val="0"/>
              </a:spcAft>
              <a:buNone/>
              <a:defRPr sz="1000"/>
            </a:lvl3pPr>
            <a:lvl4pPr marL="0" indent="0" algn="ctr">
              <a:spcBef>
                <a:spcPts val="0"/>
              </a:spcBef>
              <a:spcAft>
                <a:spcPts val="0"/>
              </a:spcAft>
              <a:buNone/>
              <a:defRPr sz="1000"/>
            </a:lvl4pPr>
            <a:lvl5pPr marL="0" indent="0" algn="ctr">
              <a:spcBef>
                <a:spcPts val="0"/>
              </a:spcBef>
              <a:spcAft>
                <a:spcPts val="0"/>
              </a:spcAft>
              <a:buNone/>
              <a:defRPr sz="1000"/>
            </a:lvl5pPr>
            <a:lvl6pPr marL="0" indent="0" algn="ctr">
              <a:spcBef>
                <a:spcPts val="0"/>
              </a:spcBef>
              <a:spcAft>
                <a:spcPts val="0"/>
              </a:spcAft>
              <a:buNone/>
              <a:defRPr sz="1000"/>
            </a:lvl6pPr>
            <a:lvl7pPr marL="0" indent="0" algn="ctr">
              <a:spcBef>
                <a:spcPts val="0"/>
              </a:spcBef>
              <a:spcAft>
                <a:spcPts val="0"/>
              </a:spcAft>
              <a:buNone/>
              <a:defRPr sz="1000"/>
            </a:lvl7pPr>
            <a:lvl8pPr marL="0" indent="0" algn="ctr">
              <a:spcBef>
                <a:spcPts val="0"/>
              </a:spcBef>
              <a:spcAft>
                <a:spcPts val="0"/>
              </a:spcAft>
              <a:buNone/>
              <a:defRPr sz="1000"/>
            </a:lvl8pPr>
            <a:lvl9pPr marL="0" indent="0" algn="ctr">
              <a:spcBef>
                <a:spcPts val="0"/>
              </a:spcBef>
              <a:spcAft>
                <a:spcPts val="0"/>
              </a:spcAft>
              <a:buNone/>
              <a:defRPr sz="1000"/>
            </a:lvl9pPr>
          </a:lstStyle>
          <a:p>
            <a:endParaRPr lang="en-US" noProof="0"/>
          </a:p>
          <a:p>
            <a:r>
              <a:rPr lang="en-US" noProof="0"/>
              <a:t>Click icon to add picture</a:t>
            </a:r>
          </a:p>
        </p:txBody>
      </p:sp>
      <p:sp>
        <p:nvSpPr>
          <p:cNvPr id="10"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 </a:t>
            </a:r>
          </a:p>
        </p:txBody>
      </p:sp>
      <p:sp>
        <p:nvSpPr>
          <p:cNvPr id="4" name="Title 3"/>
          <p:cNvSpPr>
            <a:spLocks noGrp="1"/>
          </p:cNvSpPr>
          <p:nvPr>
            <p:ph type="title" hasCustomPrompt="1"/>
          </p:nvPr>
        </p:nvSpPr>
        <p:spPr bwMode="gray"/>
        <p:txBody>
          <a:bodyPr/>
          <a:lstStyle/>
          <a:p>
            <a:r>
              <a:rPr lang="en-US"/>
              <a:t>Insert slide title here (max. 2 lines | max. 1 line with Action Title)</a:t>
            </a:r>
          </a:p>
        </p:txBody>
      </p:sp>
    </p:spTree>
    <p:extLst>
      <p:ext uri="{BB962C8B-B14F-4D97-AF65-F5344CB8AC3E}">
        <p14:creationId xmlns:p14="http://schemas.microsoft.com/office/powerpoint/2010/main" val="868701224"/>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and big Picture">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5" name="Footer Placeholder 4"/>
          <p:cNvSpPr>
            <a:spLocks noGrp="1"/>
          </p:cNvSpPr>
          <p:nvPr>
            <p:ph type="ftr" sz="quarter" idx="16"/>
          </p:nvPr>
        </p:nvSpPr>
        <p:spPr bwMode="gray"/>
        <p:txBody>
          <a:bodyPr/>
          <a:lstStyle/>
          <a:p>
            <a:r>
              <a:rPr lang="en-GB" noProof="0"/>
              <a:t>Data Exchange with Merck | December 2021</a:t>
            </a:r>
            <a:endParaRPr lang="en-US" noProof="0"/>
          </a:p>
        </p:txBody>
      </p:sp>
      <p:sp>
        <p:nvSpPr>
          <p:cNvPr id="13" name="Slide Number Placeholder 12"/>
          <p:cNvSpPr>
            <a:spLocks noGrp="1"/>
          </p:cNvSpPr>
          <p:nvPr>
            <p:ph type="sldNum" sz="quarter" idx="17"/>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17" name="Picture Placeholder 16"/>
          <p:cNvSpPr>
            <a:spLocks noGrp="1"/>
          </p:cNvSpPr>
          <p:nvPr>
            <p:ph type="pic" sz="quarter" idx="19"/>
          </p:nvPr>
        </p:nvSpPr>
        <p:spPr bwMode="gray">
          <a:xfrm>
            <a:off x="6240464" y="1484313"/>
            <a:ext cx="5327650" cy="4608515"/>
          </a:xfrm>
          <a:solidFill>
            <a:schemeClr val="bg1">
              <a:lumMod val="75000"/>
            </a:schemeClr>
          </a:solidFill>
        </p:spPr>
        <p:txBody>
          <a:bodyPr tIns="360000" anchor="ctr"/>
          <a:lstStyle>
            <a:lvl1pPr marL="0" indent="0" algn="ctr">
              <a:spcBef>
                <a:spcPts val="0"/>
              </a:spcBef>
              <a:spcAft>
                <a:spcPts val="0"/>
              </a:spcAft>
              <a:buFont typeface="Arial" panose="020B0604020202020204" pitchFamily="34" charset="0"/>
              <a:buNone/>
              <a:defRPr sz="1000" baseline="0"/>
            </a:lvl1pPr>
            <a:lvl2pPr marL="0" indent="0" algn="ctr">
              <a:spcBef>
                <a:spcPts val="0"/>
              </a:spcBef>
              <a:spcAft>
                <a:spcPts val="0"/>
              </a:spcAft>
              <a:buNone/>
              <a:defRPr sz="1000"/>
            </a:lvl2pPr>
            <a:lvl3pPr marL="0" indent="0" algn="ctr">
              <a:spcBef>
                <a:spcPts val="0"/>
              </a:spcBef>
              <a:spcAft>
                <a:spcPts val="0"/>
              </a:spcAft>
              <a:buNone/>
              <a:defRPr sz="1000"/>
            </a:lvl3pPr>
            <a:lvl4pPr marL="0" indent="0" algn="ctr">
              <a:spcBef>
                <a:spcPts val="0"/>
              </a:spcBef>
              <a:spcAft>
                <a:spcPts val="0"/>
              </a:spcAft>
              <a:buNone/>
              <a:defRPr sz="1000"/>
            </a:lvl4pPr>
            <a:lvl5pPr marL="0" indent="0" algn="ctr">
              <a:spcBef>
                <a:spcPts val="0"/>
              </a:spcBef>
              <a:spcAft>
                <a:spcPts val="0"/>
              </a:spcAft>
              <a:buNone/>
              <a:defRPr sz="1000"/>
            </a:lvl5pPr>
            <a:lvl6pPr marL="0" indent="0" algn="ctr">
              <a:spcBef>
                <a:spcPts val="0"/>
              </a:spcBef>
              <a:spcAft>
                <a:spcPts val="0"/>
              </a:spcAft>
              <a:buNone/>
              <a:defRPr sz="1000"/>
            </a:lvl6pPr>
            <a:lvl7pPr marL="0" indent="0" algn="ctr">
              <a:spcBef>
                <a:spcPts val="0"/>
              </a:spcBef>
              <a:spcAft>
                <a:spcPts val="0"/>
              </a:spcAft>
              <a:buNone/>
              <a:defRPr sz="1000"/>
            </a:lvl7pPr>
            <a:lvl8pPr marL="0" indent="0" algn="ctr">
              <a:spcBef>
                <a:spcPts val="0"/>
              </a:spcBef>
              <a:spcAft>
                <a:spcPts val="0"/>
              </a:spcAft>
              <a:buNone/>
              <a:defRPr sz="1000"/>
            </a:lvl8pPr>
            <a:lvl9pPr marL="0" indent="0" algn="ctr">
              <a:spcBef>
                <a:spcPts val="0"/>
              </a:spcBef>
              <a:spcAft>
                <a:spcPts val="0"/>
              </a:spcAft>
              <a:buNone/>
              <a:defRPr sz="1000"/>
            </a:lvl9pPr>
          </a:lstStyle>
          <a:p>
            <a:endParaRPr lang="en-US" noProof="0"/>
          </a:p>
          <a:p>
            <a:r>
              <a:rPr lang="en-US" noProof="0"/>
              <a:t>Click icon to add picture</a:t>
            </a:r>
          </a:p>
        </p:txBody>
      </p:sp>
      <p:sp>
        <p:nvSpPr>
          <p:cNvPr id="15" name="Content Placeholder 14"/>
          <p:cNvSpPr>
            <a:spLocks noGrp="1"/>
          </p:cNvSpPr>
          <p:nvPr>
            <p:ph sz="quarter" idx="18" hasCustomPrompt="1"/>
          </p:nvPr>
        </p:nvSpPr>
        <p:spPr bwMode="gray">
          <a:xfrm>
            <a:off x="623888" y="1484313"/>
            <a:ext cx="5327650" cy="4608512"/>
          </a:xfrm>
        </p:spPr>
        <p:txBody>
          <a:bodyPr/>
          <a:lstStyle>
            <a:lvl1pPr>
              <a:defRPr/>
            </a:lvl1pPr>
          </a:lstStyle>
          <a:p>
            <a:pPr lvl="0"/>
            <a:r>
              <a:rPr lang="en-US"/>
              <a:t>You can use this field to enter text, a table, a diagram or a SmartAr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 </a:t>
            </a:r>
          </a:p>
        </p:txBody>
      </p:sp>
      <p:sp>
        <p:nvSpPr>
          <p:cNvPr id="4" name="Title 3"/>
          <p:cNvSpPr>
            <a:spLocks noGrp="1"/>
          </p:cNvSpPr>
          <p:nvPr>
            <p:ph type="title" hasCustomPrompt="1"/>
          </p:nvPr>
        </p:nvSpPr>
        <p:spPr bwMode="gray"/>
        <p:txBody>
          <a:bodyPr/>
          <a:lstStyle/>
          <a:p>
            <a:r>
              <a:rPr lang="en-US"/>
              <a:t>Insert slide title here (max. 2 lines | max. 1 line with Action Title)</a:t>
            </a:r>
          </a:p>
        </p:txBody>
      </p:sp>
    </p:spTree>
    <p:extLst>
      <p:ext uri="{BB962C8B-B14F-4D97-AF65-F5344CB8AC3E}">
        <p14:creationId xmlns:p14="http://schemas.microsoft.com/office/powerpoint/2010/main" val="345463295"/>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g Picture and Content">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5" name="Footer Placeholder 4"/>
          <p:cNvSpPr>
            <a:spLocks noGrp="1"/>
          </p:cNvSpPr>
          <p:nvPr>
            <p:ph type="ftr" sz="quarter" idx="16"/>
          </p:nvPr>
        </p:nvSpPr>
        <p:spPr bwMode="gray"/>
        <p:txBody>
          <a:bodyPr/>
          <a:lstStyle/>
          <a:p>
            <a:r>
              <a:rPr lang="en-GB" noProof="0"/>
              <a:t>Data Exchange with Merck | December 2021</a:t>
            </a:r>
            <a:endParaRPr lang="en-US" noProof="0"/>
          </a:p>
        </p:txBody>
      </p:sp>
      <p:sp>
        <p:nvSpPr>
          <p:cNvPr id="6" name="Slide Number Placeholder 5"/>
          <p:cNvSpPr>
            <a:spLocks noGrp="1"/>
          </p:cNvSpPr>
          <p:nvPr>
            <p:ph type="sldNum" sz="quarter" idx="17"/>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17" name="Content Placeholder 16"/>
          <p:cNvSpPr>
            <a:spLocks noGrp="1"/>
          </p:cNvSpPr>
          <p:nvPr>
            <p:ph sz="quarter" idx="19" hasCustomPrompt="1"/>
          </p:nvPr>
        </p:nvSpPr>
        <p:spPr bwMode="gray">
          <a:xfrm>
            <a:off x="6240464" y="1484310"/>
            <a:ext cx="5327650" cy="4608515"/>
          </a:xfrm>
        </p:spPr>
        <p:txBody>
          <a:bodyPr/>
          <a:lstStyle>
            <a:lvl1pPr>
              <a:defRPr baseline="0"/>
            </a:lvl1pPr>
          </a:lstStyle>
          <a:p>
            <a:pPr lvl="0"/>
            <a:r>
              <a:rPr lang="en-US"/>
              <a:t>You can use this field to enter text, a table, a diagram or a SmartAr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Picture Placeholder 14"/>
          <p:cNvSpPr>
            <a:spLocks noGrp="1"/>
          </p:cNvSpPr>
          <p:nvPr>
            <p:ph type="pic" sz="quarter" idx="18"/>
          </p:nvPr>
        </p:nvSpPr>
        <p:spPr bwMode="gray">
          <a:xfrm>
            <a:off x="623888" y="1484310"/>
            <a:ext cx="5327650" cy="4608515"/>
          </a:xfrm>
          <a:solidFill>
            <a:schemeClr val="bg1">
              <a:lumMod val="75000"/>
            </a:schemeClr>
          </a:solidFill>
        </p:spPr>
        <p:txBody>
          <a:bodyPr tIns="360000" anchor="ctr"/>
          <a:lstStyle>
            <a:lvl1pPr marL="0" indent="0" algn="ctr" defTabSz="914400" rtl="0" eaLnBrk="1" latinLnBrk="0" hangingPunct="1">
              <a:lnSpc>
                <a:spcPct val="100000"/>
              </a:lnSpc>
              <a:spcBef>
                <a:spcPts val="0"/>
              </a:spcBef>
              <a:spcAft>
                <a:spcPts val="0"/>
              </a:spcAft>
              <a:buFont typeface="Arial" panose="020B0604020202020204" pitchFamily="34" charset="0"/>
              <a:buNone/>
              <a:defRPr lang="en-US" sz="1000" kern="1200" baseline="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ctr">
              <a:spcBef>
                <a:spcPts val="0"/>
              </a:spcBef>
              <a:spcAft>
                <a:spcPts val="0"/>
              </a:spcAft>
              <a:buNone/>
              <a:defRPr sz="1000"/>
            </a:lvl2pPr>
            <a:lvl3pPr marL="0" indent="0" algn="ctr">
              <a:spcBef>
                <a:spcPts val="0"/>
              </a:spcBef>
              <a:spcAft>
                <a:spcPts val="0"/>
              </a:spcAft>
              <a:buNone/>
              <a:defRPr sz="1000"/>
            </a:lvl3pPr>
            <a:lvl4pPr marL="0" indent="0" algn="ctr">
              <a:spcBef>
                <a:spcPts val="0"/>
              </a:spcBef>
              <a:spcAft>
                <a:spcPts val="0"/>
              </a:spcAft>
              <a:buNone/>
              <a:defRPr sz="1000"/>
            </a:lvl4pPr>
            <a:lvl5pPr marL="0" indent="0" algn="ctr">
              <a:spcBef>
                <a:spcPts val="0"/>
              </a:spcBef>
              <a:spcAft>
                <a:spcPts val="0"/>
              </a:spcAft>
              <a:buNone/>
              <a:defRPr sz="1000"/>
            </a:lvl5pPr>
            <a:lvl6pPr marL="0" indent="0" algn="ctr">
              <a:spcBef>
                <a:spcPts val="0"/>
              </a:spcBef>
              <a:spcAft>
                <a:spcPts val="0"/>
              </a:spcAft>
              <a:buNone/>
              <a:defRPr sz="1000"/>
            </a:lvl6pPr>
            <a:lvl7pPr marL="0" indent="0" algn="ctr">
              <a:spcBef>
                <a:spcPts val="0"/>
              </a:spcBef>
              <a:spcAft>
                <a:spcPts val="0"/>
              </a:spcAft>
              <a:buNone/>
              <a:defRPr sz="1000"/>
            </a:lvl7pPr>
            <a:lvl8pPr marL="0" indent="0" algn="ctr">
              <a:spcBef>
                <a:spcPts val="0"/>
              </a:spcBef>
              <a:spcAft>
                <a:spcPts val="0"/>
              </a:spcAft>
              <a:buNone/>
              <a:defRPr sz="1000"/>
            </a:lvl8pPr>
            <a:lvl9pPr marL="0" indent="0" algn="ctr">
              <a:spcBef>
                <a:spcPts val="0"/>
              </a:spcBef>
              <a:spcAft>
                <a:spcPts val="0"/>
              </a:spcAft>
              <a:buNone/>
              <a:defRPr sz="1000"/>
            </a:lvl9pPr>
          </a:lstStyle>
          <a:p>
            <a:endParaRPr lang="en-US" noProof="0"/>
          </a:p>
          <a:p>
            <a:r>
              <a:rPr lang="en-US" noProof="0"/>
              <a:t>Click icon to add picture</a:t>
            </a:r>
          </a:p>
        </p:txBody>
      </p:sp>
      <p:sp>
        <p:nvSpPr>
          <p:cNvPr id="10"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 </a:t>
            </a:r>
          </a:p>
        </p:txBody>
      </p:sp>
      <p:sp>
        <p:nvSpPr>
          <p:cNvPr id="4" name="Title 3"/>
          <p:cNvSpPr>
            <a:spLocks noGrp="1"/>
          </p:cNvSpPr>
          <p:nvPr>
            <p:ph type="title" hasCustomPrompt="1"/>
          </p:nvPr>
        </p:nvSpPr>
        <p:spPr bwMode="gray"/>
        <p:txBody>
          <a:bodyPr/>
          <a:lstStyle/>
          <a:p>
            <a:r>
              <a:rPr lang="en-US"/>
              <a:t>Insert slide title here (max. 2 lines | max. 1 line with Action Title)</a:t>
            </a:r>
          </a:p>
        </p:txBody>
      </p:sp>
    </p:spTree>
    <p:extLst>
      <p:ext uri="{BB962C8B-B14F-4D97-AF65-F5344CB8AC3E}">
        <p14:creationId xmlns:p14="http://schemas.microsoft.com/office/powerpoint/2010/main" val="3469116711"/>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icture, Notice and two Contents">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6" name="Footer Placeholder 5"/>
          <p:cNvSpPr>
            <a:spLocks noGrp="1"/>
          </p:cNvSpPr>
          <p:nvPr>
            <p:ph type="ftr" sz="quarter" idx="19"/>
          </p:nvPr>
        </p:nvSpPr>
        <p:spPr bwMode="gray"/>
        <p:txBody>
          <a:bodyPr/>
          <a:lstStyle/>
          <a:p>
            <a:r>
              <a:rPr lang="en-GB" noProof="0"/>
              <a:t>Data Exchange with Merck | December 2021</a:t>
            </a:r>
            <a:endParaRPr lang="en-US" noProof="0"/>
          </a:p>
        </p:txBody>
      </p:sp>
      <p:sp>
        <p:nvSpPr>
          <p:cNvPr id="15" name="Slide Number Placeholder 14"/>
          <p:cNvSpPr>
            <a:spLocks noGrp="1"/>
          </p:cNvSpPr>
          <p:nvPr>
            <p:ph type="sldNum" sz="quarter" idx="20"/>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20" name="Content Placeholder 19"/>
          <p:cNvSpPr>
            <a:spLocks noGrp="1"/>
          </p:cNvSpPr>
          <p:nvPr>
            <p:ph sz="quarter" idx="22"/>
          </p:nvPr>
        </p:nvSpPr>
        <p:spPr bwMode="gray">
          <a:xfrm>
            <a:off x="623888" y="4437469"/>
            <a:ext cx="3960000" cy="1655827"/>
          </a:xfrm>
        </p:spPr>
        <p:txBody>
          <a:bodyPr/>
          <a:lstStyle>
            <a:lvl1pPr>
              <a:defRPr baseline="0"/>
            </a:lvl1pPr>
          </a:lstStyle>
          <a:p>
            <a:pPr lvl="0"/>
            <a:endParaRPr lang="en-US"/>
          </a:p>
        </p:txBody>
      </p:sp>
      <p:sp>
        <p:nvSpPr>
          <p:cNvPr id="22" name="Content Placeholder 21"/>
          <p:cNvSpPr>
            <a:spLocks noGrp="1"/>
          </p:cNvSpPr>
          <p:nvPr>
            <p:ph sz="quarter" idx="23"/>
          </p:nvPr>
        </p:nvSpPr>
        <p:spPr bwMode="gray">
          <a:xfrm>
            <a:off x="4871713" y="4437469"/>
            <a:ext cx="3888112" cy="1655827"/>
          </a:xfrm>
        </p:spPr>
        <p:txBody>
          <a:bodyPr/>
          <a:lstStyle/>
          <a:p>
            <a:pPr lvl="0"/>
            <a:endParaRPr lang="en-US"/>
          </a:p>
        </p:txBody>
      </p:sp>
      <p:sp>
        <p:nvSpPr>
          <p:cNvPr id="24" name="Content Placeholder 23"/>
          <p:cNvSpPr>
            <a:spLocks noGrp="1"/>
          </p:cNvSpPr>
          <p:nvPr>
            <p:ph sz="quarter" idx="24" hasCustomPrompt="1"/>
          </p:nvPr>
        </p:nvSpPr>
        <p:spPr bwMode="gray">
          <a:xfrm>
            <a:off x="9048750" y="1484310"/>
            <a:ext cx="2518051" cy="4608986"/>
          </a:xfrm>
        </p:spPr>
        <p:txBody>
          <a:bodyPr>
            <a:noAutofit/>
          </a:bodyPr>
          <a:lstStyle>
            <a:lvl1pP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vl5pPr>
              <a:defRPr sz="1200">
                <a:solidFill>
                  <a:schemeClr val="accent1"/>
                </a:solidFill>
              </a:defRPr>
            </a:lvl5pPr>
            <a:lvl6pPr>
              <a:defRPr sz="1200">
                <a:solidFill>
                  <a:schemeClr val="accent1"/>
                </a:solidFill>
              </a:defRPr>
            </a:lvl6pPr>
            <a:lvl7pPr>
              <a:defRPr sz="1200">
                <a:solidFill>
                  <a:schemeClr val="accent1"/>
                </a:solidFill>
              </a:defRPr>
            </a:lvl7pPr>
            <a:lvl8pPr>
              <a:defRPr sz="1200">
                <a:solidFill>
                  <a:schemeClr val="accent1"/>
                </a:solidFill>
              </a:defRPr>
            </a:lvl8pPr>
            <a:lvl9pPr>
              <a:defRPr sz="1200">
                <a:solidFill>
                  <a:schemeClr val="accent1"/>
                </a:solidFill>
              </a:defRPr>
            </a:lvl9pPr>
          </a:lstStyle>
          <a:p>
            <a:pPr lvl="0"/>
            <a:r>
              <a:rPr lang="en-US"/>
              <a:t>You can use this field to enter marginal note, a table, a diagram or a SmartAr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6" hasCustomPrompt="1"/>
          </p:nvPr>
        </p:nvSpPr>
        <p:spPr bwMode="gray">
          <a:xfrm>
            <a:off x="623888" y="4076700"/>
            <a:ext cx="8135936" cy="360363"/>
          </a:xfrm>
          <a:prstGeom prst="rect">
            <a:avLst/>
          </a:prstGeom>
        </p:spPr>
        <p:txBody>
          <a:bodyPr/>
          <a:lstStyle>
            <a:lvl1pPr marL="0" indent="0">
              <a:spcBef>
                <a:spcPts val="0"/>
              </a:spcBef>
              <a:spcAft>
                <a:spcPts val="0"/>
              </a:spcAft>
              <a:buFont typeface="Arial" panose="020B0604020202020204" pitchFamily="34" charset="0"/>
              <a:buNone/>
              <a:defRPr b="1">
                <a:solidFill>
                  <a:schemeClr val="bg2"/>
                </a:solidFill>
              </a:defRPr>
            </a:lvl1pPr>
            <a:lvl2pPr marL="0" indent="0">
              <a:spcBef>
                <a:spcPts val="0"/>
              </a:spcBef>
              <a:spcAft>
                <a:spcPts val="0"/>
              </a:spcAft>
              <a:buNone/>
              <a:defRPr b="1">
                <a:solidFill>
                  <a:schemeClr val="bg2"/>
                </a:solidFill>
              </a:defRPr>
            </a:lvl2pPr>
            <a:lvl3pPr marL="0" indent="0">
              <a:spcBef>
                <a:spcPts val="0"/>
              </a:spcBef>
              <a:spcAft>
                <a:spcPts val="0"/>
              </a:spcAft>
              <a:buNone/>
              <a:defRPr b="1">
                <a:solidFill>
                  <a:schemeClr val="bg2"/>
                </a:solidFill>
              </a:defRPr>
            </a:lvl3pPr>
            <a:lvl4pPr marL="0" indent="0">
              <a:spcBef>
                <a:spcPts val="0"/>
              </a:spcBef>
              <a:spcAft>
                <a:spcPts val="0"/>
              </a:spcAft>
              <a:buNone/>
              <a:defRPr b="1">
                <a:solidFill>
                  <a:schemeClr val="bg2"/>
                </a:solidFill>
              </a:defRPr>
            </a:lvl4pPr>
            <a:lvl5pPr marL="0" indent="0">
              <a:spcBef>
                <a:spcPts val="0"/>
              </a:spcBef>
              <a:spcAft>
                <a:spcPts val="0"/>
              </a:spcAft>
              <a:buNone/>
              <a:defRPr b="1">
                <a:solidFill>
                  <a:schemeClr val="bg2"/>
                </a:solidFill>
              </a:defRPr>
            </a:lvl5pPr>
            <a:lvl6pPr marL="0" indent="0">
              <a:spcBef>
                <a:spcPts val="0"/>
              </a:spcBef>
              <a:spcAft>
                <a:spcPts val="0"/>
              </a:spcAft>
              <a:buNone/>
              <a:defRPr b="1">
                <a:solidFill>
                  <a:schemeClr val="bg2"/>
                </a:solidFill>
              </a:defRPr>
            </a:lvl6pPr>
            <a:lvl7pPr marL="0" indent="0">
              <a:spcBef>
                <a:spcPts val="0"/>
              </a:spcBef>
              <a:spcAft>
                <a:spcPts val="0"/>
              </a:spcAft>
              <a:buNone/>
              <a:defRPr b="1">
                <a:solidFill>
                  <a:schemeClr val="bg2"/>
                </a:solidFill>
              </a:defRPr>
            </a:lvl7pPr>
            <a:lvl8pPr marL="0" indent="0">
              <a:spcBef>
                <a:spcPts val="0"/>
              </a:spcBef>
              <a:spcAft>
                <a:spcPts val="0"/>
              </a:spcAft>
              <a:buNone/>
              <a:defRPr b="1">
                <a:solidFill>
                  <a:schemeClr val="bg2"/>
                </a:solidFill>
              </a:defRPr>
            </a:lvl8pPr>
            <a:lvl9pPr marL="0" indent="0">
              <a:spcBef>
                <a:spcPts val="0"/>
              </a:spcBef>
              <a:spcAft>
                <a:spcPts val="0"/>
              </a:spcAft>
              <a:buNone/>
              <a:defRPr b="1">
                <a:solidFill>
                  <a:schemeClr val="bg2"/>
                </a:solidFill>
              </a:defRPr>
            </a:lvl9pPr>
          </a:lstStyle>
          <a:p>
            <a:pPr lvl="0"/>
            <a:r>
              <a:rPr lang="en-US"/>
              <a:t>Click to edit Master text styles</a:t>
            </a:r>
            <a:endParaRPr lang="en-US" noProof="0"/>
          </a:p>
        </p:txBody>
      </p:sp>
      <p:sp>
        <p:nvSpPr>
          <p:cNvPr id="18" name="Picture Placeholder 17"/>
          <p:cNvSpPr>
            <a:spLocks noGrp="1"/>
          </p:cNvSpPr>
          <p:nvPr>
            <p:ph type="pic" sz="quarter" idx="21"/>
          </p:nvPr>
        </p:nvSpPr>
        <p:spPr bwMode="gray">
          <a:xfrm>
            <a:off x="623888" y="1484310"/>
            <a:ext cx="8135936" cy="2376000"/>
          </a:xfrm>
          <a:solidFill>
            <a:schemeClr val="bg1">
              <a:lumMod val="75000"/>
            </a:schemeClr>
          </a:solidFill>
        </p:spPr>
        <p:txBody>
          <a:bodyPr tIns="360000" anchor="ctr"/>
          <a:lstStyle>
            <a:lvl1pPr marL="0" indent="0" algn="ctr">
              <a:spcBef>
                <a:spcPts val="0"/>
              </a:spcBef>
              <a:spcAft>
                <a:spcPts val="0"/>
              </a:spcAft>
              <a:buFont typeface="Arial" panose="020B0604020202020204" pitchFamily="34" charset="0"/>
              <a:buNone/>
              <a:defRPr sz="1000"/>
            </a:lvl1pPr>
            <a:lvl2pPr marL="0" indent="0" algn="ctr">
              <a:spcBef>
                <a:spcPts val="0"/>
              </a:spcBef>
              <a:spcAft>
                <a:spcPts val="0"/>
              </a:spcAft>
              <a:buNone/>
              <a:defRPr sz="1000"/>
            </a:lvl2pPr>
            <a:lvl3pPr marL="0" indent="0" algn="ctr">
              <a:spcBef>
                <a:spcPts val="0"/>
              </a:spcBef>
              <a:spcAft>
                <a:spcPts val="0"/>
              </a:spcAft>
              <a:buNone/>
              <a:defRPr sz="1000"/>
            </a:lvl3pPr>
            <a:lvl4pPr marL="0" indent="0" algn="ctr">
              <a:spcBef>
                <a:spcPts val="0"/>
              </a:spcBef>
              <a:spcAft>
                <a:spcPts val="0"/>
              </a:spcAft>
              <a:buNone/>
              <a:defRPr sz="1000"/>
            </a:lvl4pPr>
            <a:lvl5pPr marL="0" indent="0" algn="ctr">
              <a:spcBef>
                <a:spcPts val="0"/>
              </a:spcBef>
              <a:spcAft>
                <a:spcPts val="0"/>
              </a:spcAft>
              <a:buNone/>
              <a:defRPr sz="1000"/>
            </a:lvl5pPr>
            <a:lvl6pPr marL="0" indent="0" algn="ctr">
              <a:spcBef>
                <a:spcPts val="0"/>
              </a:spcBef>
              <a:spcAft>
                <a:spcPts val="0"/>
              </a:spcAft>
              <a:buNone/>
              <a:defRPr sz="1000"/>
            </a:lvl6pPr>
            <a:lvl7pPr marL="0" indent="0" algn="ctr">
              <a:spcBef>
                <a:spcPts val="0"/>
              </a:spcBef>
              <a:spcAft>
                <a:spcPts val="0"/>
              </a:spcAft>
              <a:buNone/>
              <a:defRPr sz="1000"/>
            </a:lvl7pPr>
            <a:lvl8pPr marL="0" indent="0" algn="ctr">
              <a:spcBef>
                <a:spcPts val="0"/>
              </a:spcBef>
              <a:spcAft>
                <a:spcPts val="0"/>
              </a:spcAft>
              <a:buNone/>
              <a:defRPr sz="1000"/>
            </a:lvl8pPr>
            <a:lvl9pPr marL="0" indent="0" algn="ctr">
              <a:spcBef>
                <a:spcPts val="0"/>
              </a:spcBef>
              <a:spcAft>
                <a:spcPts val="0"/>
              </a:spcAft>
              <a:buNone/>
              <a:defRPr sz="1000"/>
            </a:lvl9pPr>
          </a:lstStyle>
          <a:p>
            <a:endParaRPr lang="en-US" noProof="0"/>
          </a:p>
          <a:p>
            <a:r>
              <a:rPr lang="en-US" noProof="0"/>
              <a:t>Click icon to add picture</a:t>
            </a:r>
          </a:p>
        </p:txBody>
      </p:sp>
      <p:sp>
        <p:nvSpPr>
          <p:cNvPr id="13"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 </a:t>
            </a:r>
          </a:p>
        </p:txBody>
      </p:sp>
      <p:sp>
        <p:nvSpPr>
          <p:cNvPr id="4" name="Title 3"/>
          <p:cNvSpPr>
            <a:spLocks noGrp="1"/>
          </p:cNvSpPr>
          <p:nvPr>
            <p:ph type="title" hasCustomPrompt="1"/>
          </p:nvPr>
        </p:nvSpPr>
        <p:spPr bwMode="gray"/>
        <p:txBody>
          <a:bodyPr/>
          <a:lstStyle/>
          <a:p>
            <a:r>
              <a:rPr lang="en-US"/>
              <a:t>Insert slide title here (max. 2 lines | max. 1 line with Action Title)</a:t>
            </a:r>
          </a:p>
        </p:txBody>
      </p:sp>
    </p:spTree>
    <p:extLst>
      <p:ext uri="{BB962C8B-B14F-4D97-AF65-F5344CB8AC3E}">
        <p14:creationId xmlns:p14="http://schemas.microsoft.com/office/powerpoint/2010/main" val="34723235"/>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and small Picture">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noProof="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noProof="0">
              <a:solidFill>
                <a:schemeClr val="tx1"/>
              </a:solidFill>
            </a:endParaRPr>
          </a:p>
        </p:txBody>
      </p:sp>
      <p:sp>
        <p:nvSpPr>
          <p:cNvPr id="5" name="Footer Placeholder 4"/>
          <p:cNvSpPr>
            <a:spLocks noGrp="1"/>
          </p:cNvSpPr>
          <p:nvPr>
            <p:ph type="ftr" sz="quarter" idx="16"/>
          </p:nvPr>
        </p:nvSpPr>
        <p:spPr bwMode="gray"/>
        <p:txBody>
          <a:bodyPr/>
          <a:lstStyle/>
          <a:p>
            <a:r>
              <a:rPr lang="en-GB" noProof="0"/>
              <a:t>Data Exchange with Merck | December 2021</a:t>
            </a:r>
            <a:endParaRPr lang="en-US" noProof="0"/>
          </a:p>
        </p:txBody>
      </p:sp>
      <p:sp>
        <p:nvSpPr>
          <p:cNvPr id="12" name="Slide Number Placeholder 11"/>
          <p:cNvSpPr>
            <a:spLocks noGrp="1"/>
          </p:cNvSpPr>
          <p:nvPr>
            <p:ph type="sldNum" sz="quarter" idx="17"/>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19" name="Picture Placeholder 18"/>
          <p:cNvSpPr>
            <a:spLocks noGrp="1"/>
          </p:cNvSpPr>
          <p:nvPr>
            <p:ph type="pic" sz="quarter" idx="19"/>
          </p:nvPr>
        </p:nvSpPr>
        <p:spPr bwMode="gray">
          <a:xfrm>
            <a:off x="9048750" y="1484310"/>
            <a:ext cx="2518051" cy="4608515"/>
          </a:xfrm>
          <a:solidFill>
            <a:schemeClr val="bg1">
              <a:lumMod val="75000"/>
            </a:schemeClr>
          </a:solidFill>
        </p:spPr>
        <p:txBody>
          <a:bodyPr tIns="360000" anchor="ctr"/>
          <a:lstStyle>
            <a:lvl1pPr marL="0" indent="0" algn="ctr">
              <a:spcBef>
                <a:spcPts val="0"/>
              </a:spcBef>
              <a:spcAft>
                <a:spcPts val="0"/>
              </a:spcAft>
              <a:buFont typeface="Arial" panose="020B0604020202020204" pitchFamily="34" charset="0"/>
              <a:buNone/>
              <a:defRPr sz="1000"/>
            </a:lvl1pPr>
            <a:lvl2pPr marL="0" indent="0" algn="ctr">
              <a:spcBef>
                <a:spcPts val="0"/>
              </a:spcBef>
              <a:spcAft>
                <a:spcPts val="0"/>
              </a:spcAft>
              <a:buNone/>
              <a:defRPr sz="1000"/>
            </a:lvl2pPr>
            <a:lvl3pPr marL="0" indent="0" algn="ctr">
              <a:spcBef>
                <a:spcPts val="0"/>
              </a:spcBef>
              <a:spcAft>
                <a:spcPts val="0"/>
              </a:spcAft>
              <a:buNone/>
              <a:defRPr sz="1000"/>
            </a:lvl3pPr>
            <a:lvl4pPr marL="0" indent="0" algn="ctr">
              <a:spcBef>
                <a:spcPts val="0"/>
              </a:spcBef>
              <a:spcAft>
                <a:spcPts val="0"/>
              </a:spcAft>
              <a:buNone/>
              <a:defRPr sz="1000"/>
            </a:lvl4pPr>
            <a:lvl5pPr marL="0" indent="0" algn="ctr">
              <a:spcBef>
                <a:spcPts val="0"/>
              </a:spcBef>
              <a:spcAft>
                <a:spcPts val="0"/>
              </a:spcAft>
              <a:buNone/>
              <a:defRPr sz="1000"/>
            </a:lvl5pPr>
            <a:lvl6pPr marL="0" indent="0" algn="ctr">
              <a:spcBef>
                <a:spcPts val="0"/>
              </a:spcBef>
              <a:spcAft>
                <a:spcPts val="0"/>
              </a:spcAft>
              <a:buNone/>
              <a:defRPr sz="1000"/>
            </a:lvl6pPr>
            <a:lvl7pPr marL="0" indent="0" algn="ctr">
              <a:spcBef>
                <a:spcPts val="0"/>
              </a:spcBef>
              <a:spcAft>
                <a:spcPts val="0"/>
              </a:spcAft>
              <a:buNone/>
              <a:defRPr sz="1000"/>
            </a:lvl7pPr>
            <a:lvl8pPr marL="0" indent="0" algn="ctr">
              <a:spcBef>
                <a:spcPts val="0"/>
              </a:spcBef>
              <a:spcAft>
                <a:spcPts val="0"/>
              </a:spcAft>
              <a:buNone/>
              <a:defRPr sz="1000"/>
            </a:lvl8pPr>
            <a:lvl9pPr marL="0" indent="0" algn="ctr">
              <a:spcBef>
                <a:spcPts val="0"/>
              </a:spcBef>
              <a:spcAft>
                <a:spcPts val="0"/>
              </a:spcAft>
              <a:buNone/>
              <a:defRPr sz="1000"/>
            </a:lvl9pPr>
          </a:lstStyle>
          <a:p>
            <a:endParaRPr lang="en-US" noProof="0"/>
          </a:p>
          <a:p>
            <a:r>
              <a:rPr lang="en-US" noProof="0"/>
              <a:t>Click icon to add picture</a:t>
            </a:r>
          </a:p>
        </p:txBody>
      </p:sp>
      <p:sp>
        <p:nvSpPr>
          <p:cNvPr id="17" name="Content Placeholder 16"/>
          <p:cNvSpPr>
            <a:spLocks noGrp="1"/>
          </p:cNvSpPr>
          <p:nvPr>
            <p:ph sz="quarter" idx="18" hasCustomPrompt="1"/>
          </p:nvPr>
        </p:nvSpPr>
        <p:spPr bwMode="gray">
          <a:xfrm>
            <a:off x="623888" y="1484312"/>
            <a:ext cx="8135936" cy="4608517"/>
          </a:xfrm>
        </p:spPr>
        <p:txBody>
          <a:bodyPr/>
          <a:lstStyle>
            <a:lvl1pPr>
              <a:defRPr/>
            </a:lvl1pPr>
          </a:lstStyle>
          <a:p>
            <a:pPr lvl="0"/>
            <a:r>
              <a:rPr lang="en-US"/>
              <a:t>You can use this field to enter text, a table, a diagram or a SmartArt.</a:t>
            </a:r>
            <a:br>
              <a:rPr lang="en-US"/>
            </a:br>
            <a:r>
              <a:rPr lang="en-US"/>
              <a:t>Use the buttons “Increase List Level” for </a:t>
            </a:r>
            <a:r>
              <a:rPr lang="en-US" err="1"/>
              <a:t>copytext</a:t>
            </a:r>
            <a:r>
              <a:rPr lang="en-US"/>
              <a:t> or bullet levels.</a:t>
            </a:r>
            <a:br>
              <a:rPr lang="en-US"/>
            </a:br>
            <a:r>
              <a:rPr lang="en-US"/>
              <a:t>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 </a:t>
            </a:r>
          </a:p>
        </p:txBody>
      </p:sp>
      <p:sp>
        <p:nvSpPr>
          <p:cNvPr id="4" name="Title 3"/>
          <p:cNvSpPr>
            <a:spLocks noGrp="1"/>
          </p:cNvSpPr>
          <p:nvPr>
            <p:ph type="title" hasCustomPrompt="1"/>
          </p:nvPr>
        </p:nvSpPr>
        <p:spPr bwMode="gray"/>
        <p:txBody>
          <a:bodyPr/>
          <a:lstStyle/>
          <a:p>
            <a:r>
              <a:rPr lang="en-US"/>
              <a:t>Insert slide title here (max. 2 lines | max. 1 line with Action Title)</a:t>
            </a:r>
          </a:p>
        </p:txBody>
      </p:sp>
    </p:spTree>
    <p:extLst>
      <p:ext uri="{BB962C8B-B14F-4D97-AF65-F5344CB8AC3E}">
        <p14:creationId xmlns:p14="http://schemas.microsoft.com/office/powerpoint/2010/main" val="589758369"/>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mall Picture and Content">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5" name="Footer Placeholder 4"/>
          <p:cNvSpPr>
            <a:spLocks noGrp="1"/>
          </p:cNvSpPr>
          <p:nvPr>
            <p:ph type="ftr" sz="quarter" idx="16"/>
          </p:nvPr>
        </p:nvSpPr>
        <p:spPr bwMode="gray"/>
        <p:txBody>
          <a:bodyPr/>
          <a:lstStyle/>
          <a:p>
            <a:r>
              <a:rPr lang="en-GB" noProof="0"/>
              <a:t>Data Exchange with Merck | December 2021</a:t>
            </a:r>
            <a:endParaRPr lang="en-US" noProof="0"/>
          </a:p>
        </p:txBody>
      </p:sp>
      <p:sp>
        <p:nvSpPr>
          <p:cNvPr id="12" name="Slide Number Placeholder 11"/>
          <p:cNvSpPr>
            <a:spLocks noGrp="1"/>
          </p:cNvSpPr>
          <p:nvPr>
            <p:ph type="sldNum" sz="quarter" idx="17"/>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17" name="Content Placeholder 16"/>
          <p:cNvSpPr>
            <a:spLocks noGrp="1"/>
          </p:cNvSpPr>
          <p:nvPr>
            <p:ph sz="quarter" idx="19" hasCustomPrompt="1"/>
          </p:nvPr>
        </p:nvSpPr>
        <p:spPr bwMode="gray">
          <a:xfrm>
            <a:off x="3430866" y="1484310"/>
            <a:ext cx="8135936" cy="4608520"/>
          </a:xfrm>
        </p:spPr>
        <p:txBody>
          <a:bodyPr/>
          <a:lstStyle>
            <a:lvl1pPr marL="0" marR="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baseline="0"/>
            </a:lvl1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 SmartArt.</a:t>
            </a:r>
            <a:br>
              <a:rPr lang="en-US"/>
            </a:br>
            <a:r>
              <a:rPr lang="en-US"/>
              <a:t>Use the buttons “Increase List Level” for </a:t>
            </a:r>
            <a:r>
              <a:rPr lang="en-US" err="1"/>
              <a:t>copytext</a:t>
            </a:r>
            <a:r>
              <a:rPr lang="en-US"/>
              <a:t> or bullet levels.</a:t>
            </a:r>
            <a:br>
              <a:rPr lang="en-US"/>
            </a:br>
            <a:r>
              <a:rPr lang="en-US"/>
              <a:t>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Picture Placeholder 14"/>
          <p:cNvSpPr>
            <a:spLocks noGrp="1"/>
          </p:cNvSpPr>
          <p:nvPr>
            <p:ph type="pic" sz="quarter" idx="18"/>
          </p:nvPr>
        </p:nvSpPr>
        <p:spPr bwMode="gray">
          <a:xfrm>
            <a:off x="623888" y="1484310"/>
            <a:ext cx="2518051" cy="4608515"/>
          </a:xfrm>
          <a:solidFill>
            <a:schemeClr val="bg1">
              <a:lumMod val="75000"/>
            </a:schemeClr>
          </a:solidFill>
        </p:spPr>
        <p:txBody>
          <a:bodyPr tIns="360000" anchor="ctr"/>
          <a:lstStyle>
            <a:lvl1pPr marL="0" indent="0" algn="ctr">
              <a:spcBef>
                <a:spcPts val="0"/>
              </a:spcBef>
              <a:spcAft>
                <a:spcPts val="0"/>
              </a:spcAft>
              <a:buFont typeface="Arial" panose="020B0604020202020204" pitchFamily="34" charset="0"/>
              <a:buNone/>
              <a:defRPr sz="1000"/>
            </a:lvl1pPr>
            <a:lvl2pPr marL="0" indent="0" algn="ctr">
              <a:spcBef>
                <a:spcPts val="0"/>
              </a:spcBef>
              <a:spcAft>
                <a:spcPts val="0"/>
              </a:spcAft>
              <a:buNone/>
              <a:defRPr sz="1000"/>
            </a:lvl2pPr>
            <a:lvl3pPr marL="0" indent="0" algn="ctr">
              <a:spcBef>
                <a:spcPts val="0"/>
              </a:spcBef>
              <a:spcAft>
                <a:spcPts val="0"/>
              </a:spcAft>
              <a:buNone/>
              <a:defRPr sz="1000"/>
            </a:lvl3pPr>
            <a:lvl4pPr marL="0" indent="0" algn="ctr">
              <a:spcBef>
                <a:spcPts val="0"/>
              </a:spcBef>
              <a:spcAft>
                <a:spcPts val="0"/>
              </a:spcAft>
              <a:buNone/>
              <a:defRPr sz="1000"/>
            </a:lvl4pPr>
            <a:lvl5pPr marL="0" indent="0" algn="ctr">
              <a:spcBef>
                <a:spcPts val="0"/>
              </a:spcBef>
              <a:spcAft>
                <a:spcPts val="0"/>
              </a:spcAft>
              <a:buNone/>
              <a:defRPr sz="1000"/>
            </a:lvl5pPr>
            <a:lvl6pPr marL="0" indent="0" algn="ctr">
              <a:spcBef>
                <a:spcPts val="0"/>
              </a:spcBef>
              <a:spcAft>
                <a:spcPts val="0"/>
              </a:spcAft>
              <a:buNone/>
              <a:defRPr sz="1000"/>
            </a:lvl6pPr>
            <a:lvl7pPr marL="0" indent="0" algn="ctr">
              <a:spcBef>
                <a:spcPts val="0"/>
              </a:spcBef>
              <a:spcAft>
                <a:spcPts val="0"/>
              </a:spcAft>
              <a:buNone/>
              <a:defRPr sz="1000"/>
            </a:lvl7pPr>
            <a:lvl8pPr marL="0" indent="0" algn="ctr">
              <a:spcBef>
                <a:spcPts val="0"/>
              </a:spcBef>
              <a:spcAft>
                <a:spcPts val="0"/>
              </a:spcAft>
              <a:buNone/>
              <a:defRPr sz="1000"/>
            </a:lvl8pPr>
            <a:lvl9pPr marL="0" indent="0" algn="ctr">
              <a:spcBef>
                <a:spcPts val="0"/>
              </a:spcBef>
              <a:spcAft>
                <a:spcPts val="0"/>
              </a:spcAft>
              <a:buNone/>
              <a:defRPr sz="1000"/>
            </a:lvl9pPr>
          </a:lstStyle>
          <a:p>
            <a:endParaRPr lang="en-US" noProof="0"/>
          </a:p>
          <a:p>
            <a:r>
              <a:rPr lang="en-US" noProof="0"/>
              <a:t>Click icon to add picture</a:t>
            </a:r>
          </a:p>
        </p:txBody>
      </p:sp>
      <p:sp>
        <p:nvSpPr>
          <p:cNvPr id="10"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 </a:t>
            </a:r>
          </a:p>
        </p:txBody>
      </p:sp>
      <p:sp>
        <p:nvSpPr>
          <p:cNvPr id="4" name="Title 3"/>
          <p:cNvSpPr>
            <a:spLocks noGrp="1"/>
          </p:cNvSpPr>
          <p:nvPr>
            <p:ph type="title" hasCustomPrompt="1"/>
          </p:nvPr>
        </p:nvSpPr>
        <p:spPr bwMode="gray"/>
        <p:txBody>
          <a:bodyPr/>
          <a:lstStyle/>
          <a:p>
            <a:r>
              <a:rPr lang="en-US"/>
              <a:t>Insert slide title here (max. 2 lines | max. 1 line with Action Title)</a:t>
            </a:r>
          </a:p>
        </p:txBody>
      </p:sp>
    </p:spTree>
    <p:extLst>
      <p:ext uri="{BB962C8B-B14F-4D97-AF65-F5344CB8AC3E}">
        <p14:creationId xmlns:p14="http://schemas.microsoft.com/office/powerpoint/2010/main" val="1854876025"/>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Only Title with Elements">
    <p:spTree>
      <p:nvGrpSpPr>
        <p:cNvPr id="1" name=""/>
        <p:cNvGrpSpPr/>
        <p:nvPr/>
      </p:nvGrpSpPr>
      <p:grpSpPr>
        <a:xfrm>
          <a:off x="0" y="0"/>
          <a:ext cx="0" cy="0"/>
          <a:chOff x="0" y="0"/>
          <a:chExt cx="0" cy="0"/>
        </a:xfrm>
      </p:grpSpPr>
      <p:sp>
        <p:nvSpPr>
          <p:cNvPr id="6" name="Freeform 5"/>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7" name="Freeform 6"/>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8" name="Slide Number Placeholder 7"/>
          <p:cNvSpPr>
            <a:spLocks noGrp="1"/>
          </p:cNvSpPr>
          <p:nvPr>
            <p:ph type="sldNum" sz="quarter" idx="11"/>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9"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 </a:t>
            </a:r>
          </a:p>
        </p:txBody>
      </p:sp>
      <p:sp>
        <p:nvSpPr>
          <p:cNvPr id="5" name="Title 4"/>
          <p:cNvSpPr>
            <a:spLocks noGrp="1"/>
          </p:cNvSpPr>
          <p:nvPr>
            <p:ph type="title" hasCustomPrompt="1"/>
          </p:nvPr>
        </p:nvSpPr>
        <p:spPr bwMode="gray">
          <a:xfrm>
            <a:off x="623888" y="730800"/>
            <a:ext cx="10944225" cy="325952"/>
          </a:xfrm>
        </p:spPr>
        <p:txBody>
          <a:bodyPr/>
          <a:lstStyle>
            <a:lvl1pPr>
              <a:defRPr/>
            </a:lvl1pPr>
          </a:lstStyle>
          <a:p>
            <a:r>
              <a:rPr lang="en-US"/>
              <a:t>Insert slide title here (max. 2 lines | max. 1 line with Action Title)</a:t>
            </a:r>
          </a:p>
        </p:txBody>
      </p:sp>
      <p:sp>
        <p:nvSpPr>
          <p:cNvPr id="10" name="Footer Placeholder 1"/>
          <p:cNvSpPr>
            <a:spLocks noGrp="1"/>
          </p:cNvSpPr>
          <p:nvPr>
            <p:ph type="ftr" sz="quarter" idx="10"/>
          </p:nvPr>
        </p:nvSpPr>
        <p:spPr bwMode="gray">
          <a:xfrm>
            <a:off x="1272000" y="6380999"/>
            <a:ext cx="8718972" cy="216172"/>
          </a:xfrm>
        </p:spPr>
        <p:txBody>
          <a:bodyPr/>
          <a:lstStyle/>
          <a:p>
            <a:r>
              <a:rPr lang="en-GB"/>
              <a:t>Data Exchange with Merck | December 2021</a:t>
            </a:r>
            <a:endParaRPr lang="en-US"/>
          </a:p>
        </p:txBody>
      </p:sp>
    </p:spTree>
    <p:extLst>
      <p:ext uri="{BB962C8B-B14F-4D97-AF65-F5344CB8AC3E}">
        <p14:creationId xmlns:p14="http://schemas.microsoft.com/office/powerpoint/2010/main" val="17961343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ig Picture">
    <p:spTree>
      <p:nvGrpSpPr>
        <p:cNvPr id="1" name=""/>
        <p:cNvGrpSpPr/>
        <p:nvPr/>
      </p:nvGrpSpPr>
      <p:grpSpPr>
        <a:xfrm>
          <a:off x="0" y="0"/>
          <a:ext cx="0" cy="0"/>
          <a:chOff x="0" y="0"/>
          <a:chExt cx="0" cy="0"/>
        </a:xfrm>
      </p:grpSpPr>
      <p:sp>
        <p:nvSpPr>
          <p:cNvPr id="8" name="MIO_VALID_LAYOUT" hidden="1"/>
          <p:cNvSpPr/>
          <p:nvPr userDrawn="1"/>
        </p:nvSpPr>
        <p:spPr bwMode="gray">
          <a:xfrm>
            <a:off x="263056" y="157877"/>
            <a:ext cx="641166" cy="599207"/>
          </a:xfrm>
          <a:prstGeom prst="rect">
            <a:avLst/>
          </a:prstGeom>
          <a:solidFill>
            <a:srgbClr val="52328F"/>
          </a:solidFill>
          <a:ln w="9525" cap="flat" cmpd="sng" algn="ctr">
            <a:noFill/>
            <a:prstDash val="solid"/>
          </a:ln>
          <a:effectLst/>
        </p:spPr>
        <p:txBody>
          <a:bodyPr rtlCol="0" anchor="t" anchorCtr="0"/>
          <a:lstStyle/>
          <a:p>
            <a:pPr marL="180000" indent="-180000" algn="ctr">
              <a:spcBef>
                <a:spcPts val="300"/>
              </a:spcBef>
              <a:spcAft>
                <a:spcPts val="300"/>
              </a:spcAft>
              <a:buClr>
                <a:schemeClr val="bg1"/>
              </a:buClr>
              <a:buSzPct val="100000"/>
              <a:buFont typeface="Arial" panose="020B0604020202020204" pitchFamily="34" charset="0"/>
              <a:buChar char="•"/>
            </a:pPr>
            <a:endParaRPr lang="en-US" sz="1400" kern="0">
              <a:solidFill>
                <a:srgbClr val="FFFFFF"/>
              </a:solidFill>
              <a:latin typeface="Verdana"/>
            </a:endParaRPr>
          </a:p>
        </p:txBody>
      </p:sp>
      <p:sp>
        <p:nvSpPr>
          <p:cNvPr id="2" name="Footer Placeholder 1"/>
          <p:cNvSpPr>
            <a:spLocks noGrp="1"/>
          </p:cNvSpPr>
          <p:nvPr>
            <p:ph type="ftr" sz="quarter" idx="34"/>
          </p:nvPr>
        </p:nvSpPr>
        <p:spPr bwMode="gray"/>
        <p:txBody>
          <a:bodyPr/>
          <a:lstStyle/>
          <a:p>
            <a:r>
              <a:rPr lang="en-GB"/>
              <a:t>Data Exchange with Merck | December 2021</a:t>
            </a:r>
            <a:endParaRPr lang="en-US"/>
          </a:p>
        </p:txBody>
      </p:sp>
      <p:sp>
        <p:nvSpPr>
          <p:cNvPr id="4" name="Slide Number Placeholder 3"/>
          <p:cNvSpPr>
            <a:spLocks noGrp="1"/>
          </p:cNvSpPr>
          <p:nvPr>
            <p:ph type="sldNum" sz="quarter" idx="35"/>
          </p:nvPr>
        </p:nvSpPr>
        <p:spPr bwMode="gray"/>
        <p:txBody>
          <a:bodyPr/>
          <a:lstStyle/>
          <a:p>
            <a:fld id="{7C13EB76-EF81-47B5-BEE8-51CDB48536F3}" type="slidenum">
              <a:rPr lang="en-US" smtClean="0"/>
              <a:pPr/>
              <a:t>‹#›</a:t>
            </a:fld>
            <a:endParaRPr lang="en-US"/>
          </a:p>
        </p:txBody>
      </p:sp>
      <p:sp>
        <p:nvSpPr>
          <p:cNvPr id="5" name="Picture Placeholder 4"/>
          <p:cNvSpPr>
            <a:spLocks noGrp="1"/>
          </p:cNvSpPr>
          <p:nvPr>
            <p:ph type="pic" sz="quarter" idx="33" hasCustomPrompt="1"/>
          </p:nvPr>
        </p:nvSpPr>
        <p:spPr bwMode="gray">
          <a:xfrm>
            <a:off x="0" y="0"/>
            <a:ext cx="12192000" cy="6858000"/>
          </a:xfrm>
          <a:solidFill>
            <a:schemeClr val="bg1">
              <a:lumMod val="75000"/>
            </a:schemeClr>
          </a:solidFill>
        </p:spPr>
        <p:txBody>
          <a:bodyPr lIns="4248000" rIns="0" anchor="ctr" anchorCtr="0"/>
          <a:lstStyle>
            <a:lvl1pPr marL="0" indent="0" algn="l">
              <a:spcBef>
                <a:spcPts val="0"/>
              </a:spcBef>
              <a:spcAft>
                <a:spcPts val="0"/>
              </a:spcAft>
              <a:buFont typeface="Arial" panose="020B0604020202020204" pitchFamily="34" charset="0"/>
              <a:buNone/>
              <a:defRPr sz="1000"/>
            </a:lvl1pPr>
            <a:lvl2pPr marL="0" indent="0" algn="l">
              <a:spcBef>
                <a:spcPts val="0"/>
              </a:spcBef>
              <a:spcAft>
                <a:spcPts val="0"/>
              </a:spcAft>
              <a:buNone/>
              <a:defRPr sz="1000"/>
            </a:lvl2pPr>
            <a:lvl3pPr marL="0" indent="0" algn="l">
              <a:spcBef>
                <a:spcPts val="0"/>
              </a:spcBef>
              <a:spcAft>
                <a:spcPts val="0"/>
              </a:spcAft>
              <a:buNone/>
              <a:defRPr sz="1000"/>
            </a:lvl3pPr>
            <a:lvl4pPr marL="0" indent="0" algn="l">
              <a:spcBef>
                <a:spcPts val="0"/>
              </a:spcBef>
              <a:spcAft>
                <a:spcPts val="0"/>
              </a:spcAft>
              <a:buNone/>
              <a:defRPr sz="1000"/>
            </a:lvl4pPr>
            <a:lvl5pPr marL="0" indent="0" algn="l">
              <a:spcBef>
                <a:spcPts val="0"/>
              </a:spcBef>
              <a:spcAft>
                <a:spcPts val="0"/>
              </a:spcAft>
              <a:buNone/>
              <a:defRPr sz="1000"/>
            </a:lvl5pPr>
            <a:lvl6pPr marL="0" indent="0" algn="l">
              <a:spcBef>
                <a:spcPts val="0"/>
              </a:spcBef>
              <a:spcAft>
                <a:spcPts val="0"/>
              </a:spcAft>
              <a:buNone/>
              <a:defRPr sz="1000"/>
            </a:lvl6pPr>
            <a:lvl7pPr marL="0" indent="0" algn="l">
              <a:spcBef>
                <a:spcPts val="0"/>
              </a:spcBef>
              <a:spcAft>
                <a:spcPts val="0"/>
              </a:spcAft>
              <a:buNone/>
              <a:defRPr sz="1000"/>
            </a:lvl7pPr>
            <a:lvl8pPr marL="0" indent="0" algn="l">
              <a:spcBef>
                <a:spcPts val="0"/>
              </a:spcBef>
              <a:spcAft>
                <a:spcPts val="0"/>
              </a:spcAft>
              <a:buNone/>
              <a:defRPr sz="1000"/>
            </a:lvl8pPr>
            <a:lvl9pPr marL="0" indent="0" algn="l">
              <a:spcBef>
                <a:spcPts val="0"/>
              </a:spcBef>
              <a:spcAft>
                <a:spcPts val="0"/>
              </a:spcAft>
              <a:buNone/>
              <a:defRPr sz="1000"/>
            </a:lvl9pPr>
          </a:lstStyle>
          <a:p>
            <a:r>
              <a:rPr lang="en-US" noProof="0"/>
              <a:t>Click icon to add picture</a:t>
            </a:r>
          </a:p>
        </p:txBody>
      </p:sp>
      <p:sp>
        <p:nvSpPr>
          <p:cNvPr id="7" name="Content Placeholder 6"/>
          <p:cNvSpPr>
            <a:spLocks noGrp="1"/>
          </p:cNvSpPr>
          <p:nvPr>
            <p:ph sz="quarter" idx="36" hasCustomPrompt="1"/>
          </p:nvPr>
        </p:nvSpPr>
        <p:spPr bwMode="gray">
          <a:xfrm>
            <a:off x="6600057" y="476251"/>
            <a:ext cx="4968551" cy="5616578"/>
          </a:xfrm>
        </p:spPr>
        <p:txBody>
          <a:bodyPr/>
          <a:lstStyle>
            <a:lvl1pPr marL="0" indent="0" algn="l" defTabSz="914400" rtl="0" eaLnBrk="1" latinLnBrk="0" hangingPunct="1">
              <a:lnSpc>
                <a:spcPct val="100000"/>
              </a:lnSpc>
              <a:spcBef>
                <a:spcPts val="600"/>
              </a:spcBef>
              <a:spcAft>
                <a:spcPts val="300"/>
              </a:spcAft>
              <a:buFont typeface="Arial" panose="020B0604020202020204" pitchFamily="34" charset="0"/>
              <a:buNone/>
              <a:defRPr lang="en-US" sz="2000" b="1" kern="1200" noProof="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pPr marL="0" lvl="0" indent="0" algn="l" defTabSz="914400" rtl="0" eaLnBrk="1" latinLnBrk="0" hangingPunct="1">
              <a:lnSpc>
                <a:spcPct val="100000"/>
              </a:lnSpc>
              <a:spcBef>
                <a:spcPts val="600"/>
              </a:spcBef>
              <a:spcAft>
                <a:spcPts val="300"/>
              </a:spcAft>
              <a:buFont typeface="Arial" panose="020B0604020202020204" pitchFamily="34" charset="0"/>
              <a:buNone/>
            </a:pPr>
            <a:r>
              <a:rPr lang="en-US"/>
              <a:t>You can use this field to enter text, a table, a diagram or a SmartArt. Use the buttons “Increase List Level” for </a:t>
            </a:r>
            <a:r>
              <a:rPr lang="en-US" err="1"/>
              <a:t>copytext</a:t>
            </a:r>
            <a:r>
              <a:rPr lang="en-US"/>
              <a:t> or bullet levels. Use the icons below to create visual content.</a:t>
            </a:r>
          </a:p>
          <a:p>
            <a:pPr marL="0" lvl="0" indent="0" algn="l" defTabSz="914400" rtl="0" eaLnBrk="1" latinLnBrk="0" hangingPunct="1">
              <a:lnSpc>
                <a:spcPct val="100000"/>
              </a:lnSpc>
              <a:spcBef>
                <a:spcPts val="600"/>
              </a:spcBef>
              <a:spcAft>
                <a:spcPts val="300"/>
              </a:spcAft>
              <a:buFont typeface="Arial" panose="020B0604020202020204" pitchFamily="34" charset="0"/>
              <a:buNone/>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20291167"/>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with Elements">
    <p:spTree>
      <p:nvGrpSpPr>
        <p:cNvPr id="1" name=""/>
        <p:cNvGrpSpPr/>
        <p:nvPr/>
      </p:nvGrpSpPr>
      <p:grpSpPr>
        <a:xfrm>
          <a:off x="0" y="0"/>
          <a:ext cx="0" cy="0"/>
          <a:chOff x="0" y="0"/>
          <a:chExt cx="0" cy="0"/>
        </a:xfrm>
      </p:grpSpPr>
      <p:sp>
        <p:nvSpPr>
          <p:cNvPr id="6" name="Freeform 5"/>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7" name="Freeform 6"/>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 name="Footer Placeholder 1"/>
          <p:cNvSpPr>
            <a:spLocks noGrp="1"/>
          </p:cNvSpPr>
          <p:nvPr>
            <p:ph type="ftr" sz="quarter" idx="10"/>
          </p:nvPr>
        </p:nvSpPr>
        <p:spPr bwMode="gray"/>
        <p:txBody>
          <a:bodyPr/>
          <a:lstStyle/>
          <a:p>
            <a:r>
              <a:rPr lang="en-GB"/>
              <a:t>Data Exchange with Merck | December 2021</a:t>
            </a:r>
            <a:endParaRPr lang="en-US"/>
          </a:p>
        </p:txBody>
      </p:sp>
      <p:sp>
        <p:nvSpPr>
          <p:cNvPr id="3" name="Slide Number Placeholder 2"/>
          <p:cNvSpPr>
            <a:spLocks noGrp="1"/>
          </p:cNvSpPr>
          <p:nvPr>
            <p:ph type="sldNum" sz="quarter" idx="11"/>
          </p:nvPr>
        </p:nvSpPr>
        <p:spPr bwMode="gray"/>
        <p:txBody>
          <a:bodyPr/>
          <a:lstStyle>
            <a:lvl1pPr>
              <a:defRPr>
                <a:solidFill>
                  <a:schemeClr val="bg1"/>
                </a:solidFill>
              </a:defRPr>
            </a:lvl1pPr>
          </a:lstStyle>
          <a:p>
            <a:fld id="{FD5E7EB4-4CDF-47BB-AF16-07782904B863}" type="slidenum">
              <a:rPr lang="en-US" smtClean="0"/>
              <a:pPr/>
              <a:t>‹#›</a:t>
            </a:fld>
            <a:endParaRPr lang="en-US"/>
          </a:p>
        </p:txBody>
      </p:sp>
    </p:spTree>
    <p:extLst>
      <p:ext uri="{BB962C8B-B14F-4D97-AF65-F5344CB8AC3E}">
        <p14:creationId xmlns:p14="http://schemas.microsoft.com/office/powerpoint/2010/main" val="9865381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Only Title without Elements">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bwMode="gray"/>
        <p:txBody>
          <a:bodyPr/>
          <a:lstStyle/>
          <a:p>
            <a:fld id="{FD5E7EB4-4CDF-47BB-AF16-07782904B863}" type="slidenum">
              <a:rPr lang="en-US" noProof="0" smtClean="0"/>
              <a:pPr/>
              <a:t>‹#›</a:t>
            </a:fld>
            <a:endParaRPr lang="en-US" noProof="0"/>
          </a:p>
        </p:txBody>
      </p:sp>
      <p:sp>
        <p:nvSpPr>
          <p:cNvPr id="6"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 </a:t>
            </a:r>
          </a:p>
        </p:txBody>
      </p:sp>
      <p:sp>
        <p:nvSpPr>
          <p:cNvPr id="2" name="Title 1"/>
          <p:cNvSpPr>
            <a:spLocks noGrp="1"/>
          </p:cNvSpPr>
          <p:nvPr>
            <p:ph type="title" hasCustomPrompt="1"/>
          </p:nvPr>
        </p:nvSpPr>
        <p:spPr bwMode="gray"/>
        <p:txBody>
          <a:bodyPr/>
          <a:lstStyle/>
          <a:p>
            <a:r>
              <a:rPr lang="en-US"/>
              <a:t>Insert slide title here (max. 2 lines | max. 1 line with Action Title)</a:t>
            </a:r>
          </a:p>
        </p:txBody>
      </p:sp>
      <p:sp>
        <p:nvSpPr>
          <p:cNvPr id="12" name="Footer Placeholder 1"/>
          <p:cNvSpPr>
            <a:spLocks noGrp="1"/>
          </p:cNvSpPr>
          <p:nvPr>
            <p:ph type="ftr" sz="quarter" idx="10"/>
          </p:nvPr>
        </p:nvSpPr>
        <p:spPr bwMode="gray">
          <a:xfrm>
            <a:off x="1272000" y="6380999"/>
            <a:ext cx="8718972" cy="216172"/>
          </a:xfrm>
        </p:spPr>
        <p:txBody>
          <a:bodyPr/>
          <a:lstStyle/>
          <a:p>
            <a:r>
              <a:rPr lang="en-GB"/>
              <a:t>Data Exchange with Merck | December 2021</a:t>
            </a:r>
            <a:endParaRPr lang="en-US"/>
          </a:p>
        </p:txBody>
      </p:sp>
    </p:spTree>
    <p:extLst>
      <p:ext uri="{BB962C8B-B14F-4D97-AF65-F5344CB8AC3E}">
        <p14:creationId xmlns:p14="http://schemas.microsoft.com/office/powerpoint/2010/main" val="314464160"/>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without Elements / Agenda">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bwMode="gray"/>
        <p:txBody>
          <a:bodyPr/>
          <a:lstStyle/>
          <a:p>
            <a:fld id="{FD5E7EB4-4CDF-47BB-AF16-07782904B863}" type="slidenum">
              <a:rPr lang="en-US" noProof="0" smtClean="0"/>
              <a:pPr/>
              <a:t>‹#›</a:t>
            </a:fld>
            <a:endParaRPr lang="en-US" noProof="0"/>
          </a:p>
        </p:txBody>
      </p:sp>
      <p:sp>
        <p:nvSpPr>
          <p:cNvPr id="4" name="Footer Placeholder 1"/>
          <p:cNvSpPr>
            <a:spLocks noGrp="1"/>
          </p:cNvSpPr>
          <p:nvPr>
            <p:ph type="ftr" sz="quarter" idx="10"/>
          </p:nvPr>
        </p:nvSpPr>
        <p:spPr bwMode="gray">
          <a:xfrm>
            <a:off x="1272000" y="6380999"/>
            <a:ext cx="8718972" cy="216172"/>
          </a:xfrm>
        </p:spPr>
        <p:txBody>
          <a:bodyPr/>
          <a:lstStyle/>
          <a:p>
            <a:r>
              <a:rPr lang="en-GB"/>
              <a:t>Data Exchange with Merck | December 2021</a:t>
            </a:r>
            <a:endParaRPr lang="en-US"/>
          </a:p>
        </p:txBody>
      </p:sp>
    </p:spTree>
    <p:extLst>
      <p:ext uri="{BB962C8B-B14F-4D97-AF65-F5344CB8AC3E}">
        <p14:creationId xmlns:p14="http://schemas.microsoft.com/office/powerpoint/2010/main" val="222974832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Inhalt">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tx1"/>
              </a:solidFill>
            </a:endParaRPr>
          </a:p>
        </p:txBody>
      </p:sp>
      <p:sp>
        <p:nvSpPr>
          <p:cNvPr id="13" name="Slide Number Placeholder 12"/>
          <p:cNvSpPr>
            <a:spLocks noGrp="1"/>
          </p:cNvSpPr>
          <p:nvPr>
            <p:ph type="sldNum" sz="quarter" idx="16"/>
          </p:nvPr>
        </p:nvSpPr>
        <p:spPr/>
        <p:txBody>
          <a:bodyPr/>
          <a:lstStyle>
            <a:lvl1pPr>
              <a:defRPr>
                <a:solidFill>
                  <a:schemeClr val="bg1"/>
                </a:solidFill>
              </a:defRPr>
            </a:lvl1pPr>
          </a:lstStyle>
          <a:p>
            <a:fld id="{FD5E7EB4-4CDF-47BB-AF16-07782904B863}" type="slidenum">
              <a:rPr lang="de-DE" smtClean="0"/>
              <a:pPr/>
              <a:t>‹#›</a:t>
            </a:fld>
            <a:endParaRPr lang="de-DE" dirty="0"/>
          </a:p>
        </p:txBody>
      </p:sp>
      <p:sp>
        <p:nvSpPr>
          <p:cNvPr id="12" name="Footer Placeholder 11"/>
          <p:cNvSpPr>
            <a:spLocks noGrp="1"/>
          </p:cNvSpPr>
          <p:nvPr>
            <p:ph type="ftr" sz="quarter" idx="15"/>
          </p:nvPr>
        </p:nvSpPr>
        <p:spPr/>
        <p:txBody>
          <a:bodyPr/>
          <a:lstStyle/>
          <a:p>
            <a:r>
              <a:rPr lang="de-DE" noProof="0" dirty="0"/>
              <a:t>Titel der Präsentation | DD.MM.YYYY</a:t>
            </a:r>
          </a:p>
        </p:txBody>
      </p:sp>
      <p:sp>
        <p:nvSpPr>
          <p:cNvPr id="11" name="Content Placeholder 10"/>
          <p:cNvSpPr>
            <a:spLocks noGrp="1"/>
          </p:cNvSpPr>
          <p:nvPr>
            <p:ph sz="quarter" idx="14" hasCustomPrompt="1"/>
          </p:nvPr>
        </p:nvSpPr>
        <p:spPr>
          <a:xfrm>
            <a:off x="623888" y="1484313"/>
            <a:ext cx="10944227" cy="4608511"/>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lvl="0"/>
            <a:r>
              <a:rPr lang="de-DE" dirty="0"/>
              <a:t>Verwenden Sie diesen Platzhalter um Text, eine Tabelle, ein Diagramm oder ein SmartArt zu nutzen. Benutzen Sie den Button „Listenebene erhöhen“ um Fließtext oder die verfügbaren Bullet-Points aufzurufen. Verwenden Sie die Symbole unten, um visuelle Inhalte zu erstellen.</a:t>
            </a:r>
          </a:p>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de-DE" noProof="0" dirty="0"/>
              <a:t> </a:t>
            </a:r>
          </a:p>
        </p:txBody>
      </p:sp>
      <p:sp>
        <p:nvSpPr>
          <p:cNvPr id="2" name="Title 1"/>
          <p:cNvSpPr>
            <a:spLocks noGrp="1"/>
          </p:cNvSpPr>
          <p:nvPr>
            <p:ph type="title" hasCustomPrompt="1"/>
          </p:nvPr>
        </p:nvSpPr>
        <p:spPr>
          <a:xfrm>
            <a:off x="623888" y="692696"/>
            <a:ext cx="10944225" cy="364056"/>
          </a:xfrm>
        </p:spPr>
        <p:txBody>
          <a:bodyPr/>
          <a:lstStyle/>
          <a:p>
            <a:r>
              <a:rPr lang="de-DE" dirty="0"/>
              <a:t>Folienüberschrift (in 2 Zeilen | 1 Zeile bei Nutzung des Aktion Titels)</a:t>
            </a:r>
          </a:p>
        </p:txBody>
      </p:sp>
    </p:spTree>
    <p:extLst>
      <p:ext uri="{BB962C8B-B14F-4D97-AF65-F5344CB8AC3E}">
        <p14:creationId xmlns:p14="http://schemas.microsoft.com/office/powerpoint/2010/main" val="258325882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1" name="Slide Number Placeholder 10"/>
          <p:cNvSpPr>
            <a:spLocks noGrp="1"/>
          </p:cNvSpPr>
          <p:nvPr>
            <p:ph type="sldNum" sz="quarter" idx="11"/>
          </p:nvPr>
        </p:nvSpPr>
        <p:spPr bwMode="gray"/>
        <p:txBody>
          <a:bodyPr/>
          <a:lstStyle>
            <a:lvl1pPr>
              <a:defRPr>
                <a:solidFill>
                  <a:schemeClr val="bg1"/>
                </a:solidFill>
              </a:defRPr>
            </a:lvl1pPr>
          </a:lstStyle>
          <a:p>
            <a:fld id="{FD5E7EB4-4CDF-47BB-AF16-07782904B863}" type="slidenum">
              <a:rPr lang="en-US" smtClean="0"/>
              <a:pPr/>
              <a:t>‹#›</a:t>
            </a:fld>
            <a:endParaRPr lang="en-US"/>
          </a:p>
        </p:txBody>
      </p:sp>
      <p:sp>
        <p:nvSpPr>
          <p:cNvPr id="14" name="Content Placeholder 13"/>
          <p:cNvSpPr>
            <a:spLocks noGrp="1"/>
          </p:cNvSpPr>
          <p:nvPr>
            <p:ph sz="quarter" idx="14" hasCustomPrompt="1"/>
          </p:nvPr>
        </p:nvSpPr>
        <p:spPr bwMode="gray">
          <a:xfrm>
            <a:off x="623888" y="1484313"/>
            <a:ext cx="10944227" cy="4608511"/>
          </a:xfrm>
        </p:spPr>
        <p:txBody>
          <a:bodyPr/>
          <a:lstStyle>
            <a:lvl1pPr marL="342900" indent="-342900">
              <a:buClr>
                <a:schemeClr val="accent5"/>
              </a:buClr>
              <a:buFont typeface="+mj-lt"/>
              <a:buAutoNum type="arabicPeriod"/>
              <a:defRPr/>
            </a:lvl1pPr>
            <a:lvl2pPr marL="534988" indent="-179388">
              <a:defRPr/>
            </a:lvl2pPr>
            <a:lvl3pPr marL="715963" indent="-179388">
              <a:defRPr/>
            </a:lvl3pPr>
            <a:lvl4pPr marL="896938" indent="-179388">
              <a:defRPr/>
            </a:lvl4pPr>
            <a:lvl5pPr marL="449263" indent="0">
              <a:buNone/>
              <a:defRPr/>
            </a:lvl5pPr>
          </a:lstStyle>
          <a:p>
            <a:pPr lvl="0"/>
            <a:r>
              <a:rPr lang="en-US"/>
              <a:t>Insert your agenda points here. Use the button “increase list level” to add </a:t>
            </a:r>
            <a:r>
              <a:rPr lang="en-US" err="1"/>
              <a:t>subitems</a:t>
            </a:r>
            <a:r>
              <a:rPr lang="en-US"/>
              <a:t>.</a:t>
            </a:r>
            <a:br>
              <a:rPr lang="en-US"/>
            </a:br>
            <a:r>
              <a:rPr lang="en-US"/>
              <a:t>You can find other agenda designs within the slide library.</a:t>
            </a:r>
          </a:p>
          <a:p>
            <a:pPr lvl="0"/>
            <a:r>
              <a:rPr lang="en-US"/>
              <a:t>Click to edit Master text styles</a:t>
            </a:r>
          </a:p>
          <a:p>
            <a:pPr lvl="1"/>
            <a:r>
              <a:rPr lang="en-US"/>
              <a:t>Second level</a:t>
            </a:r>
          </a:p>
          <a:p>
            <a:pPr lvl="2"/>
            <a:r>
              <a:rPr lang="en-US"/>
              <a:t>Third level</a:t>
            </a:r>
          </a:p>
          <a:p>
            <a:pPr lvl="3"/>
            <a:r>
              <a:rPr lang="en-US"/>
              <a:t>Fourth level</a:t>
            </a:r>
          </a:p>
          <a:p>
            <a:pPr lvl="3"/>
            <a:r>
              <a:rPr lang="en-US"/>
              <a:t>Fifth level</a:t>
            </a:r>
          </a:p>
        </p:txBody>
      </p:sp>
      <p:sp>
        <p:nvSpPr>
          <p:cNvPr id="10"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 </a:t>
            </a:r>
          </a:p>
        </p:txBody>
      </p:sp>
      <p:sp>
        <p:nvSpPr>
          <p:cNvPr id="3" name="Title 2"/>
          <p:cNvSpPr>
            <a:spLocks noGrp="1"/>
          </p:cNvSpPr>
          <p:nvPr>
            <p:ph type="title" hasCustomPrompt="1"/>
          </p:nvPr>
        </p:nvSpPr>
        <p:spPr bwMode="gray">
          <a:xfrm>
            <a:off x="623888" y="730800"/>
            <a:ext cx="10944225" cy="325952"/>
          </a:xfrm>
        </p:spPr>
        <p:txBody>
          <a:bodyPr/>
          <a:lstStyle/>
          <a:p>
            <a:r>
              <a:rPr lang="en-US"/>
              <a:t>Insert slide title here (max. 2 lines | max. 1 line with Action Title)</a:t>
            </a:r>
          </a:p>
        </p:txBody>
      </p:sp>
      <p:sp>
        <p:nvSpPr>
          <p:cNvPr id="12" name="Footer Placeholder 1"/>
          <p:cNvSpPr>
            <a:spLocks noGrp="1"/>
          </p:cNvSpPr>
          <p:nvPr>
            <p:ph type="ftr" sz="quarter" idx="10"/>
          </p:nvPr>
        </p:nvSpPr>
        <p:spPr bwMode="gray">
          <a:xfrm>
            <a:off x="1272000" y="6380999"/>
            <a:ext cx="8718972" cy="216172"/>
          </a:xfrm>
        </p:spPr>
        <p:txBody>
          <a:bodyPr/>
          <a:lstStyle/>
          <a:p>
            <a:r>
              <a:rPr lang="en-GB"/>
              <a:t>Data Exchange with Merck | December 2021</a:t>
            </a:r>
            <a:endParaRPr lang="en-US"/>
          </a:p>
        </p:txBody>
      </p:sp>
    </p:spTree>
    <p:extLst>
      <p:ext uri="{BB962C8B-B14F-4D97-AF65-F5344CB8AC3E}">
        <p14:creationId xmlns:p14="http://schemas.microsoft.com/office/powerpoint/2010/main" val="3074054661"/>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Plastic">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6" name="Object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6" name="Rectangle 15"/>
          <p:cNvSpPr/>
          <p:nvPr userDrawn="1"/>
        </p:nvSpPr>
        <p:spPr bwMode="gray">
          <a:xfrm>
            <a:off x="1" y="0"/>
            <a:ext cx="12192000" cy="6858001"/>
          </a:xfrm>
          <a:prstGeom prst="rect">
            <a:avLst/>
          </a:prstGeom>
          <a:solidFill>
            <a:srgbClr val="A5CD50"/>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19" name="Rectangle 1"/>
          <p:cNvSpPr/>
          <p:nvPr userDrawn="1"/>
        </p:nvSpPr>
        <p:spPr bwMode="gray">
          <a:xfrm>
            <a:off x="1" y="0"/>
            <a:ext cx="5832941" cy="6858000"/>
          </a:xfrm>
          <a:custGeom>
            <a:avLst/>
            <a:gdLst/>
            <a:ahLst/>
            <a:cxnLst/>
            <a:rect l="l" t="t" r="r" b="b"/>
            <a:pathLst>
              <a:path w="5832941" h="6859095">
                <a:moveTo>
                  <a:pt x="0" y="1095"/>
                </a:moveTo>
                <a:lnTo>
                  <a:pt x="2379070" y="1095"/>
                </a:lnTo>
                <a:lnTo>
                  <a:pt x="2375872" y="4439"/>
                </a:lnTo>
                <a:cubicBezTo>
                  <a:pt x="2375863" y="4452"/>
                  <a:pt x="2373953" y="7453"/>
                  <a:pt x="1944472" y="682162"/>
                </a:cubicBezTo>
                <a:cubicBezTo>
                  <a:pt x="1884685" y="775964"/>
                  <a:pt x="1877651" y="934256"/>
                  <a:pt x="1930404" y="1032749"/>
                </a:cubicBezTo>
                <a:cubicBezTo>
                  <a:pt x="1930408" y="1032756"/>
                  <a:pt x="1931244" y="1034335"/>
                  <a:pt x="2127348" y="1404441"/>
                </a:cubicBezTo>
                <a:cubicBezTo>
                  <a:pt x="2178929" y="1502934"/>
                  <a:pt x="2312569" y="1599081"/>
                  <a:pt x="2422764" y="1616669"/>
                </a:cubicBezTo>
                <a:cubicBezTo>
                  <a:pt x="2422777" y="1616671"/>
                  <a:pt x="2427199" y="1617400"/>
                  <a:pt x="3965491" y="1871109"/>
                </a:cubicBezTo>
                <a:cubicBezTo>
                  <a:pt x="4075686" y="1888697"/>
                  <a:pt x="4164779" y="1995397"/>
                  <a:pt x="4164779" y="2106788"/>
                </a:cubicBezTo>
                <a:cubicBezTo>
                  <a:pt x="4164779" y="2106805"/>
                  <a:pt x="4164779" y="2110586"/>
                  <a:pt x="4164779" y="2954528"/>
                </a:cubicBezTo>
                <a:cubicBezTo>
                  <a:pt x="4164779" y="3065918"/>
                  <a:pt x="4075686" y="3172618"/>
                  <a:pt x="3964319" y="3190206"/>
                </a:cubicBezTo>
                <a:cubicBezTo>
                  <a:pt x="3964302" y="3190209"/>
                  <a:pt x="3960071" y="3190896"/>
                  <a:pt x="2910435" y="3361396"/>
                </a:cubicBezTo>
                <a:cubicBezTo>
                  <a:pt x="2800240" y="3380156"/>
                  <a:pt x="2691217" y="3483339"/>
                  <a:pt x="2667772" y="3593557"/>
                </a:cubicBezTo>
                <a:cubicBezTo>
                  <a:pt x="2667771" y="3593562"/>
                  <a:pt x="2667429" y="3595183"/>
                  <a:pt x="2548199" y="4159890"/>
                </a:cubicBezTo>
                <a:cubicBezTo>
                  <a:pt x="2525925" y="4268935"/>
                  <a:pt x="2593918" y="4385016"/>
                  <a:pt x="2700595" y="4417847"/>
                </a:cubicBezTo>
                <a:cubicBezTo>
                  <a:pt x="2700612" y="4417852"/>
                  <a:pt x="2705245" y="4419265"/>
                  <a:pt x="4000659" y="4814162"/>
                </a:cubicBezTo>
                <a:cubicBezTo>
                  <a:pt x="4107337" y="4846993"/>
                  <a:pt x="4195259" y="4965419"/>
                  <a:pt x="4195259" y="5076809"/>
                </a:cubicBezTo>
                <a:cubicBezTo>
                  <a:pt x="4195259" y="5076821"/>
                  <a:pt x="4195259" y="5081382"/>
                  <a:pt x="4195259" y="6818752"/>
                </a:cubicBezTo>
                <a:lnTo>
                  <a:pt x="4195259" y="6859095"/>
                </a:lnTo>
                <a:lnTo>
                  <a:pt x="999485" y="6859095"/>
                </a:lnTo>
                <a:lnTo>
                  <a:pt x="963855" y="6799716"/>
                </a:lnTo>
                <a:cubicBezTo>
                  <a:pt x="953671" y="6773755"/>
                  <a:pt x="948029" y="6746201"/>
                  <a:pt x="948029" y="6718353"/>
                </a:cubicBezTo>
                <a:cubicBezTo>
                  <a:pt x="948029" y="6718334"/>
                  <a:pt x="948029" y="6713539"/>
                  <a:pt x="948029" y="5494230"/>
                </a:cubicBezTo>
                <a:cubicBezTo>
                  <a:pt x="948029" y="5381667"/>
                  <a:pt x="1026573" y="5243309"/>
                  <a:pt x="1122700" y="5185855"/>
                </a:cubicBezTo>
                <a:cubicBezTo>
                  <a:pt x="1122719" y="5185844"/>
                  <a:pt x="1127232" y="5183128"/>
                  <a:pt x="2217614" y="4526892"/>
                </a:cubicBezTo>
                <a:cubicBezTo>
                  <a:pt x="2313742" y="4469438"/>
                  <a:pt x="2409869" y="4333424"/>
                  <a:pt x="2433315" y="4223206"/>
                </a:cubicBezTo>
                <a:cubicBezTo>
                  <a:pt x="2433318" y="4223192"/>
                  <a:pt x="2433954" y="4220138"/>
                  <a:pt x="2573989" y="3547828"/>
                </a:cubicBezTo>
                <a:cubicBezTo>
                  <a:pt x="2596262" y="3438783"/>
                  <a:pt x="2545854" y="3288699"/>
                  <a:pt x="2461449" y="3216002"/>
                </a:cubicBezTo>
                <a:cubicBezTo>
                  <a:pt x="2461438" y="3215993"/>
                  <a:pt x="2459581" y="3214371"/>
                  <a:pt x="2128521" y="2925214"/>
                </a:cubicBezTo>
                <a:cubicBezTo>
                  <a:pt x="2044116" y="2852517"/>
                  <a:pt x="1904614" y="2850172"/>
                  <a:pt x="1817865" y="2921697"/>
                </a:cubicBezTo>
                <a:cubicBezTo>
                  <a:pt x="1817853" y="2921707"/>
                  <a:pt x="1814998" y="2924053"/>
                  <a:pt x="1102771" y="3509135"/>
                </a:cubicBezTo>
                <a:cubicBezTo>
                  <a:pt x="1017194" y="3580659"/>
                  <a:pt x="946857" y="3730743"/>
                  <a:pt x="946857" y="3842134"/>
                </a:cubicBezTo>
                <a:cubicBezTo>
                  <a:pt x="946857" y="3842145"/>
                  <a:pt x="946857" y="3845670"/>
                  <a:pt x="946857" y="4995905"/>
                </a:cubicBezTo>
                <a:cubicBezTo>
                  <a:pt x="946857" y="5107295"/>
                  <a:pt x="860108" y="5228066"/>
                  <a:pt x="753430" y="5264414"/>
                </a:cubicBezTo>
                <a:cubicBezTo>
                  <a:pt x="753412" y="5264420"/>
                  <a:pt x="750175" y="5265507"/>
                  <a:pt x="146651" y="5468184"/>
                </a:cubicBezTo>
                <a:lnTo>
                  <a:pt x="0" y="5517432"/>
                </a:lnTo>
                <a:lnTo>
                  <a:pt x="0" y="3305712"/>
                </a:lnTo>
                <a:lnTo>
                  <a:pt x="96951" y="3327228"/>
                </a:lnTo>
                <a:cubicBezTo>
                  <a:pt x="255209" y="3362349"/>
                  <a:pt x="466220" y="3409177"/>
                  <a:pt x="747569" y="3471614"/>
                </a:cubicBezTo>
                <a:cubicBezTo>
                  <a:pt x="856591" y="3496237"/>
                  <a:pt x="1017194" y="3457543"/>
                  <a:pt x="1102771" y="3386019"/>
                </a:cubicBezTo>
                <a:cubicBezTo>
                  <a:pt x="1102784" y="3386009"/>
                  <a:pt x="1105685" y="3383597"/>
                  <a:pt x="1768629" y="2832584"/>
                </a:cubicBezTo>
                <a:cubicBezTo>
                  <a:pt x="1854206" y="2761060"/>
                  <a:pt x="1942127" y="2613321"/>
                  <a:pt x="1964400" y="2504275"/>
                </a:cubicBezTo>
                <a:cubicBezTo>
                  <a:pt x="1964403" y="2504262"/>
                  <a:pt x="1964982" y="2501309"/>
                  <a:pt x="2095697" y="1834760"/>
                </a:cubicBezTo>
                <a:cubicBezTo>
                  <a:pt x="2116797" y="1724542"/>
                  <a:pt x="2091007" y="1554525"/>
                  <a:pt x="2038254" y="1456033"/>
                </a:cubicBezTo>
                <a:cubicBezTo>
                  <a:pt x="2038251" y="1456027"/>
                  <a:pt x="2037470" y="1454557"/>
                  <a:pt x="1830760" y="1065579"/>
                </a:cubicBezTo>
                <a:cubicBezTo>
                  <a:pt x="1778007" y="967087"/>
                  <a:pt x="1644367" y="876802"/>
                  <a:pt x="1533000" y="866249"/>
                </a:cubicBezTo>
                <a:cubicBezTo>
                  <a:pt x="1532991" y="866248"/>
                  <a:pt x="1529527" y="865906"/>
                  <a:pt x="252897" y="739783"/>
                </a:cubicBezTo>
                <a:lnTo>
                  <a:pt x="0" y="714798"/>
                </a:lnTo>
                <a:close/>
                <a:moveTo>
                  <a:pt x="2916470" y="0"/>
                </a:moveTo>
                <a:lnTo>
                  <a:pt x="3205161" y="0"/>
                </a:lnTo>
                <a:lnTo>
                  <a:pt x="3205161" y="1095"/>
                </a:lnTo>
                <a:lnTo>
                  <a:pt x="5832941" y="1095"/>
                </a:lnTo>
                <a:lnTo>
                  <a:pt x="5832941" y="26517"/>
                </a:lnTo>
                <a:cubicBezTo>
                  <a:pt x="5832941" y="128773"/>
                  <a:pt x="5832941" y="362500"/>
                  <a:pt x="5832941" y="896735"/>
                </a:cubicBezTo>
                <a:cubicBezTo>
                  <a:pt x="5832941" y="1008125"/>
                  <a:pt x="5749709" y="1138277"/>
                  <a:pt x="5647720" y="1185178"/>
                </a:cubicBezTo>
                <a:cubicBezTo>
                  <a:pt x="5647705" y="1185185"/>
                  <a:pt x="5645028" y="1186430"/>
                  <a:pt x="5163566" y="1410304"/>
                </a:cubicBezTo>
                <a:cubicBezTo>
                  <a:pt x="5062750" y="1457205"/>
                  <a:pt x="4903319" y="1444307"/>
                  <a:pt x="4810708" y="1382163"/>
                </a:cubicBezTo>
                <a:cubicBezTo>
                  <a:pt x="4810695" y="1382154"/>
                  <a:pt x="4805643" y="1378788"/>
                  <a:pt x="2849670" y="75240"/>
                </a:cubicBezTo>
                <a:lnTo>
                  <a:pt x="2738416" y="1095"/>
                </a:lnTo>
                <a:lnTo>
                  <a:pt x="2916470" y="1095"/>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7" name="Text Placeholder 12"/>
          <p:cNvSpPr>
            <a:spLocks noGrp="1"/>
          </p:cNvSpPr>
          <p:nvPr>
            <p:ph type="body" sz="quarter" idx="10" hasCustomPrompt="1"/>
          </p:nvPr>
        </p:nvSpPr>
        <p:spPr bwMode="gray">
          <a:xfrm>
            <a:off x="5159375" y="4292897"/>
            <a:ext cx="6408738" cy="576263"/>
          </a:xfrm>
          <a:prstGeom prst="rect">
            <a:avLst/>
          </a:prstGeom>
        </p:spPr>
        <p:txBody>
          <a:bodyPr>
            <a:noAutofit/>
          </a:bodyPr>
          <a:lstStyle>
            <a:lvl1pPr marL="0" indent="0">
              <a:spcBef>
                <a:spcPts val="0"/>
              </a:spcBef>
              <a:spcAft>
                <a:spcPts val="0"/>
              </a:spcAft>
              <a:buFont typeface="Arial" panose="020B0604020202020204" pitchFamily="34" charset="0"/>
              <a:buNone/>
              <a:defRPr baseline="0">
                <a:solidFill>
                  <a:schemeClr val="accent1"/>
                </a:solidFill>
                <a:latin typeface="+mn-lt"/>
              </a:defRPr>
            </a:lvl1pPr>
            <a:lvl2pPr marL="0" indent="0">
              <a:spcBef>
                <a:spcPts val="0"/>
              </a:spcBef>
              <a:spcAft>
                <a:spcPts val="0"/>
              </a:spcAft>
              <a:buNone/>
              <a:defRPr>
                <a:solidFill>
                  <a:schemeClr val="accent1"/>
                </a:solidFill>
              </a:defRPr>
            </a:lvl2pPr>
            <a:lvl3pPr marL="0" indent="0">
              <a:spcBef>
                <a:spcPts val="0"/>
              </a:spcBef>
              <a:spcAft>
                <a:spcPts val="0"/>
              </a:spcAft>
              <a:buNone/>
              <a:defRPr>
                <a:solidFill>
                  <a:schemeClr val="accent1"/>
                </a:solidFill>
              </a:defRPr>
            </a:lvl3pPr>
            <a:lvl4pPr marL="0" indent="0">
              <a:spcBef>
                <a:spcPts val="0"/>
              </a:spcBef>
              <a:spcAft>
                <a:spcPts val="0"/>
              </a:spcAft>
              <a:buNone/>
              <a:defRPr>
                <a:solidFill>
                  <a:schemeClr val="accent1"/>
                </a:solidFill>
              </a:defRPr>
            </a:lvl4pPr>
            <a:lvl5pPr marL="0" indent="0">
              <a:spcBef>
                <a:spcPts val="0"/>
              </a:spcBef>
              <a:spcAft>
                <a:spcPts val="0"/>
              </a:spcAft>
              <a:buNone/>
              <a:defRPr>
                <a:solidFill>
                  <a:schemeClr val="accent1"/>
                </a:solidFill>
              </a:defRPr>
            </a:lvl5pPr>
            <a:lvl6pPr marL="0" indent="0">
              <a:spcBef>
                <a:spcPts val="0"/>
              </a:spcBef>
              <a:spcAft>
                <a:spcPts val="0"/>
              </a:spcAft>
              <a:buNone/>
              <a:defRPr>
                <a:solidFill>
                  <a:schemeClr val="accent1"/>
                </a:solidFill>
              </a:defRPr>
            </a:lvl6pPr>
            <a:lvl7pPr marL="0" indent="0">
              <a:spcBef>
                <a:spcPts val="0"/>
              </a:spcBef>
              <a:spcAft>
                <a:spcPts val="0"/>
              </a:spcAft>
              <a:buNone/>
              <a:defRPr>
                <a:solidFill>
                  <a:schemeClr val="accent1"/>
                </a:solidFill>
              </a:defRPr>
            </a:lvl7pPr>
            <a:lvl8pPr marL="0" indent="0">
              <a:spcBef>
                <a:spcPts val="0"/>
              </a:spcBef>
              <a:spcAft>
                <a:spcPts val="0"/>
              </a:spcAft>
              <a:buNone/>
              <a:defRPr>
                <a:solidFill>
                  <a:schemeClr val="accent1"/>
                </a:solidFill>
              </a:defRPr>
            </a:lvl8pPr>
            <a:lvl9pPr marL="0" indent="0">
              <a:spcBef>
                <a:spcPts val="0"/>
              </a:spcBef>
              <a:spcAft>
                <a:spcPts val="0"/>
              </a:spcAft>
              <a:buNone/>
              <a:defRPr>
                <a:solidFill>
                  <a:schemeClr val="accent1"/>
                </a:solidFill>
              </a:defRPr>
            </a:lvl9pPr>
          </a:lstStyle>
          <a:p>
            <a:r>
              <a:rPr lang="en-US" noProof="0"/>
              <a:t>Name</a:t>
            </a:r>
            <a:br>
              <a:rPr lang="en-US" noProof="0"/>
            </a:br>
            <a:r>
              <a:rPr lang="en-US" noProof="0"/>
              <a:t>Place, Date</a:t>
            </a:r>
          </a:p>
        </p:txBody>
      </p:sp>
      <p:sp>
        <p:nvSpPr>
          <p:cNvPr id="3" name="Subtitle 2"/>
          <p:cNvSpPr>
            <a:spLocks noGrp="1"/>
          </p:cNvSpPr>
          <p:nvPr>
            <p:ph type="subTitle" idx="1" hasCustomPrompt="1"/>
          </p:nvPr>
        </p:nvSpPr>
        <p:spPr bwMode="gray">
          <a:xfrm>
            <a:off x="5160000" y="3501080"/>
            <a:ext cx="6408113" cy="648000"/>
          </a:xfrm>
          <a:prstGeom prst="rect">
            <a:avLst/>
          </a:prstGeom>
        </p:spPr>
        <p:txBody>
          <a:bodyPr>
            <a:noAutofit/>
          </a:bodyPr>
          <a:lstStyle>
            <a:lvl1pPr marL="0" indent="0" algn="l">
              <a:spcBef>
                <a:spcPts val="0"/>
              </a:spcBef>
              <a:spcAft>
                <a:spcPts val="1200"/>
              </a:spcAft>
              <a:buNone/>
              <a:defRPr sz="1600" b="1" i="0" baseline="0">
                <a:solidFill>
                  <a:schemeClr val="accent1"/>
                </a:solidFill>
                <a:latin typeface="+mn-lt"/>
              </a:defRPr>
            </a:lvl1pPr>
            <a:lvl2pPr marL="0" indent="0" algn="l">
              <a:spcBef>
                <a:spcPts val="0"/>
              </a:spcBef>
              <a:spcAft>
                <a:spcPts val="1200"/>
              </a:spcAft>
              <a:buNone/>
              <a:defRPr sz="1600" b="1">
                <a:solidFill>
                  <a:schemeClr val="accent1"/>
                </a:solidFill>
              </a:defRPr>
            </a:lvl2pPr>
            <a:lvl3pPr marL="0" indent="0" algn="l">
              <a:spcBef>
                <a:spcPts val="0"/>
              </a:spcBef>
              <a:spcAft>
                <a:spcPts val="1200"/>
              </a:spcAft>
              <a:buNone/>
              <a:defRPr sz="1600" b="1">
                <a:solidFill>
                  <a:schemeClr val="accent1"/>
                </a:solidFill>
              </a:defRPr>
            </a:lvl3pPr>
            <a:lvl4pPr marL="0" indent="0" algn="l">
              <a:spcBef>
                <a:spcPts val="0"/>
              </a:spcBef>
              <a:spcAft>
                <a:spcPts val="1200"/>
              </a:spcAft>
              <a:buNone/>
              <a:defRPr sz="1600" b="1">
                <a:solidFill>
                  <a:schemeClr val="accent1"/>
                </a:solidFill>
              </a:defRPr>
            </a:lvl4pPr>
            <a:lvl5pPr marL="0" indent="0" algn="l">
              <a:spcBef>
                <a:spcPts val="0"/>
              </a:spcBef>
              <a:spcAft>
                <a:spcPts val="1200"/>
              </a:spcAft>
              <a:buNone/>
              <a:defRPr sz="1600" b="1">
                <a:solidFill>
                  <a:schemeClr val="accent1"/>
                </a:solidFill>
              </a:defRPr>
            </a:lvl5pPr>
            <a:lvl6pPr marL="0" indent="0" algn="l">
              <a:spcBef>
                <a:spcPts val="0"/>
              </a:spcBef>
              <a:spcAft>
                <a:spcPts val="1200"/>
              </a:spcAft>
              <a:buNone/>
              <a:defRPr sz="1600" b="1">
                <a:solidFill>
                  <a:schemeClr val="accent1"/>
                </a:solidFill>
              </a:defRPr>
            </a:lvl6pPr>
            <a:lvl7pPr marL="0" indent="0" algn="l">
              <a:spcBef>
                <a:spcPts val="0"/>
              </a:spcBef>
              <a:spcAft>
                <a:spcPts val="1200"/>
              </a:spcAft>
              <a:buNone/>
              <a:defRPr sz="1600" b="1">
                <a:solidFill>
                  <a:schemeClr val="accent1"/>
                </a:solidFill>
              </a:defRPr>
            </a:lvl7pPr>
            <a:lvl8pPr marL="0" indent="0" algn="l">
              <a:spcBef>
                <a:spcPts val="0"/>
              </a:spcBef>
              <a:spcAft>
                <a:spcPts val="1200"/>
              </a:spcAft>
              <a:buNone/>
              <a:defRPr sz="1600" b="1">
                <a:solidFill>
                  <a:schemeClr val="accent1"/>
                </a:solidFill>
              </a:defRPr>
            </a:lvl8pPr>
            <a:lvl9pPr marL="0" indent="0" algn="l">
              <a:spcBef>
                <a:spcPts val="0"/>
              </a:spcBef>
              <a:spcAft>
                <a:spcPts val="1200"/>
              </a:spcAft>
              <a:buNone/>
              <a:defRPr sz="1600" b="1">
                <a:solidFill>
                  <a:schemeClr val="accent1"/>
                </a:solidFill>
              </a:defRPr>
            </a:lvl9pPr>
          </a:lstStyle>
          <a:p>
            <a:r>
              <a:rPr lang="en-US" noProof="0"/>
              <a:t>Subtitle and other information of this presentation</a:t>
            </a:r>
          </a:p>
        </p:txBody>
      </p:sp>
      <p:sp>
        <p:nvSpPr>
          <p:cNvPr id="2" name="Title 1"/>
          <p:cNvSpPr>
            <a:spLocks noGrp="1"/>
          </p:cNvSpPr>
          <p:nvPr>
            <p:ph type="ctrTitle" hasCustomPrompt="1"/>
          </p:nvPr>
        </p:nvSpPr>
        <p:spPr bwMode="gray">
          <a:xfrm>
            <a:off x="5160000" y="2107718"/>
            <a:ext cx="6408113" cy="1249282"/>
          </a:xfrm>
          <a:prstGeom prst="rect">
            <a:avLst/>
          </a:prstGeom>
          <a:noFill/>
        </p:spPr>
        <p:txBody>
          <a:bodyPr anchor="b"/>
          <a:lstStyle>
            <a:lvl1pPr algn="l">
              <a:lnSpc>
                <a:spcPct val="100000"/>
              </a:lnSpc>
              <a:defRPr sz="4000" cap="none" baseline="0">
                <a:latin typeface="Merck" panose="04040805020F02020302" pitchFamily="82" charset="0"/>
                <a:ea typeface="Verdana" panose="020B0604030504040204" pitchFamily="34" charset="0"/>
                <a:cs typeface="Verdana" panose="020B0604030504040204" pitchFamily="34" charset="0"/>
              </a:defRPr>
            </a:lvl1pPr>
          </a:lstStyle>
          <a:p>
            <a:r>
              <a:rPr lang="en-US" noProof="0"/>
              <a:t>Title of presentation</a:t>
            </a:r>
          </a:p>
        </p:txBody>
      </p:sp>
      <p:grpSp>
        <p:nvGrpSpPr>
          <p:cNvPr id="5" name="Gruppieren 4"/>
          <p:cNvGrpSpPr/>
          <p:nvPr userDrawn="1"/>
        </p:nvGrpSpPr>
        <p:grpSpPr bwMode="gray">
          <a:xfrm>
            <a:off x="0" y="2"/>
            <a:ext cx="4165600" cy="5517125"/>
            <a:chOff x="0" y="2"/>
            <a:chExt cx="4165600" cy="5517125"/>
          </a:xfrm>
        </p:grpSpPr>
        <p:sp>
          <p:nvSpPr>
            <p:cNvPr id="20" name="Freeform 40"/>
            <p:cNvSpPr>
              <a:spLocks/>
            </p:cNvSpPr>
            <p:nvPr userDrawn="1"/>
          </p:nvSpPr>
          <p:spPr bwMode="gray">
            <a:xfrm>
              <a:off x="2244725" y="1631950"/>
              <a:ext cx="1920875" cy="1468438"/>
            </a:xfrm>
            <a:custGeom>
              <a:avLst/>
              <a:gdLst>
                <a:gd name="T0" fmla="*/ 658 w 1639"/>
                <a:gd name="T1" fmla="*/ 632 h 1252"/>
                <a:gd name="T2" fmla="*/ 1321 w 1639"/>
                <a:gd name="T3" fmla="*/ 959 h 1252"/>
                <a:gd name="T4" fmla="*/ 1553 w 1639"/>
                <a:gd name="T5" fmla="*/ 866 h 1252"/>
                <a:gd name="T6" fmla="*/ 1639 w 1639"/>
                <a:gd name="T7" fmla="*/ 631 h 1252"/>
                <a:gd name="T8" fmla="*/ 1639 w 1639"/>
                <a:gd name="T9" fmla="*/ 406 h 1252"/>
                <a:gd name="T10" fmla="*/ 1468 w 1639"/>
                <a:gd name="T11" fmla="*/ 204 h 1252"/>
                <a:gd name="T12" fmla="*/ 229 w 1639"/>
                <a:gd name="T13" fmla="*/ 0 h 1252"/>
                <a:gd name="T14" fmla="*/ 354 w 1639"/>
                <a:gd name="T15" fmla="*/ 133 h 1252"/>
                <a:gd name="T16" fmla="*/ 389 w 1639"/>
                <a:gd name="T17" fmla="*/ 280 h 1252"/>
                <a:gd name="T18" fmla="*/ 336 w 1639"/>
                <a:gd name="T19" fmla="*/ 624 h 1252"/>
                <a:gd name="T20" fmla="*/ 0 w 1639"/>
                <a:gd name="T21" fmla="*/ 1189 h 1252"/>
                <a:gd name="T22" fmla="*/ 72 w 1639"/>
                <a:gd name="T23" fmla="*/ 1252 h 1252"/>
                <a:gd name="T24" fmla="*/ 394 w 1639"/>
                <a:gd name="T25" fmla="*/ 710 h 1252"/>
                <a:gd name="T26" fmla="*/ 658 w 1639"/>
                <a:gd name="T27" fmla="*/ 632 h 1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39" h="1252">
                  <a:moveTo>
                    <a:pt x="658" y="632"/>
                  </a:moveTo>
                  <a:cubicBezTo>
                    <a:pt x="1321" y="959"/>
                    <a:pt x="1321" y="959"/>
                    <a:pt x="1321" y="959"/>
                  </a:cubicBezTo>
                  <a:cubicBezTo>
                    <a:pt x="1413" y="1005"/>
                    <a:pt x="1518" y="963"/>
                    <a:pt x="1553" y="866"/>
                  </a:cubicBezTo>
                  <a:cubicBezTo>
                    <a:pt x="1639" y="631"/>
                    <a:pt x="1639" y="631"/>
                    <a:pt x="1639" y="631"/>
                  </a:cubicBezTo>
                  <a:cubicBezTo>
                    <a:pt x="1639" y="406"/>
                    <a:pt x="1639" y="406"/>
                    <a:pt x="1639" y="406"/>
                  </a:cubicBezTo>
                  <a:cubicBezTo>
                    <a:pt x="1639" y="310"/>
                    <a:pt x="1562" y="220"/>
                    <a:pt x="1468" y="204"/>
                  </a:cubicBezTo>
                  <a:cubicBezTo>
                    <a:pt x="229" y="0"/>
                    <a:pt x="229" y="0"/>
                    <a:pt x="229" y="0"/>
                  </a:cubicBezTo>
                  <a:cubicBezTo>
                    <a:pt x="289" y="19"/>
                    <a:pt x="338" y="68"/>
                    <a:pt x="354" y="133"/>
                  </a:cubicBezTo>
                  <a:cubicBezTo>
                    <a:pt x="389" y="280"/>
                    <a:pt x="389" y="280"/>
                    <a:pt x="389" y="280"/>
                  </a:cubicBezTo>
                  <a:cubicBezTo>
                    <a:pt x="412" y="381"/>
                    <a:pt x="389" y="535"/>
                    <a:pt x="336" y="624"/>
                  </a:cubicBezTo>
                  <a:cubicBezTo>
                    <a:pt x="0" y="1189"/>
                    <a:pt x="0" y="1189"/>
                    <a:pt x="0" y="1189"/>
                  </a:cubicBezTo>
                  <a:cubicBezTo>
                    <a:pt x="72" y="1252"/>
                    <a:pt x="72" y="1252"/>
                    <a:pt x="72" y="1252"/>
                  </a:cubicBezTo>
                  <a:cubicBezTo>
                    <a:pt x="394" y="710"/>
                    <a:pt x="394" y="710"/>
                    <a:pt x="394" y="710"/>
                  </a:cubicBezTo>
                  <a:cubicBezTo>
                    <a:pt x="447" y="621"/>
                    <a:pt x="566" y="586"/>
                    <a:pt x="658" y="63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1" name="Freeform 20"/>
            <p:cNvSpPr/>
            <p:nvPr userDrawn="1"/>
          </p:nvSpPr>
          <p:spPr bwMode="gray">
            <a:xfrm>
              <a:off x="1" y="3279574"/>
              <a:ext cx="1336675" cy="2237553"/>
            </a:xfrm>
            <a:custGeom>
              <a:avLst/>
              <a:gdLst>
                <a:gd name="connsiteX0" fmla="*/ 1232317 w 1336675"/>
                <a:gd name="connsiteY0" fmla="*/ 0 h 2237553"/>
                <a:gd name="connsiteX1" fmla="*/ 1336675 w 1336675"/>
                <a:gd name="connsiteY1" fmla="*/ 38681 h 2237553"/>
                <a:gd name="connsiteX2" fmla="*/ 1103335 w 1336675"/>
                <a:gd name="connsiteY2" fmla="*/ 230918 h 2237553"/>
                <a:gd name="connsiteX3" fmla="*/ 946211 w 1336675"/>
                <a:gd name="connsiteY3" fmla="*/ 562644 h 2237553"/>
                <a:gd name="connsiteX4" fmla="*/ 946211 w 1336675"/>
                <a:gd name="connsiteY4" fmla="*/ 1716064 h 2237553"/>
                <a:gd name="connsiteX5" fmla="*/ 753911 w 1336675"/>
                <a:gd name="connsiteY5" fmla="*/ 1984492 h 2237553"/>
                <a:gd name="connsiteX6" fmla="*/ 110565 w 1336675"/>
                <a:gd name="connsiteY6" fmla="*/ 2200440 h 2237553"/>
                <a:gd name="connsiteX7" fmla="*/ 0 w 1336675"/>
                <a:gd name="connsiteY7" fmla="*/ 2237553 h 2237553"/>
                <a:gd name="connsiteX8" fmla="*/ 0 w 1336675"/>
                <a:gd name="connsiteY8" fmla="*/ 26059 h 2237553"/>
                <a:gd name="connsiteX9" fmla="*/ 83039 w 1336675"/>
                <a:gd name="connsiteY9" fmla="*/ 44506 h 2237553"/>
                <a:gd name="connsiteX10" fmla="*/ 748048 w 1336675"/>
                <a:gd name="connsiteY10" fmla="*/ 192236 h 2237553"/>
                <a:gd name="connsiteX11" fmla="*/ 1103335 w 1336675"/>
                <a:gd name="connsiteY11" fmla="*/ 106668 h 2237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6675" h="2237553">
                  <a:moveTo>
                    <a:pt x="1232317" y="0"/>
                  </a:moveTo>
                  <a:cubicBezTo>
                    <a:pt x="1232317" y="0"/>
                    <a:pt x="1232317" y="0"/>
                    <a:pt x="1336675" y="38681"/>
                  </a:cubicBezTo>
                  <a:cubicBezTo>
                    <a:pt x="1336675" y="38681"/>
                    <a:pt x="1336675" y="38681"/>
                    <a:pt x="1103335" y="230918"/>
                  </a:cubicBezTo>
                  <a:cubicBezTo>
                    <a:pt x="1017738" y="301249"/>
                    <a:pt x="946211" y="451287"/>
                    <a:pt x="946211" y="562644"/>
                  </a:cubicBezTo>
                  <a:cubicBezTo>
                    <a:pt x="946211" y="562644"/>
                    <a:pt x="946211" y="562644"/>
                    <a:pt x="946211" y="1716064"/>
                  </a:cubicBezTo>
                  <a:cubicBezTo>
                    <a:pt x="946211" y="1828593"/>
                    <a:pt x="859442" y="1948155"/>
                    <a:pt x="753911" y="1984492"/>
                  </a:cubicBezTo>
                  <a:cubicBezTo>
                    <a:pt x="753911" y="1984492"/>
                    <a:pt x="753911" y="1984492"/>
                    <a:pt x="110565" y="2200440"/>
                  </a:cubicBezTo>
                  <a:lnTo>
                    <a:pt x="0" y="2237553"/>
                  </a:lnTo>
                  <a:lnTo>
                    <a:pt x="0" y="26059"/>
                  </a:lnTo>
                  <a:lnTo>
                    <a:pt x="83039" y="44506"/>
                  </a:lnTo>
                  <a:cubicBezTo>
                    <a:pt x="244798" y="80440"/>
                    <a:pt x="460477" y="128353"/>
                    <a:pt x="748048" y="192236"/>
                  </a:cubicBezTo>
                  <a:cubicBezTo>
                    <a:pt x="857096" y="216852"/>
                    <a:pt x="1016565" y="178170"/>
                    <a:pt x="1103335" y="106668"/>
                  </a:cubicBez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4" name="Freihandform 13"/>
            <p:cNvSpPr/>
            <p:nvPr userDrawn="1"/>
          </p:nvSpPr>
          <p:spPr bwMode="gray">
            <a:xfrm>
              <a:off x="0" y="2"/>
              <a:ext cx="1614244" cy="883735"/>
            </a:xfrm>
            <a:custGeom>
              <a:avLst/>
              <a:gdLst>
                <a:gd name="connsiteX0" fmla="*/ 0 w 1614244"/>
                <a:gd name="connsiteY0" fmla="*/ 0 h 883735"/>
                <a:gd name="connsiteX1" fmla="*/ 827794 w 1614244"/>
                <a:gd name="connsiteY1" fmla="*/ 0 h 883735"/>
                <a:gd name="connsiteX2" fmla="*/ 1088662 w 1614244"/>
                <a:gd name="connsiteY2" fmla="*/ 95411 h 883735"/>
                <a:gd name="connsiteX3" fmla="*/ 1413677 w 1614244"/>
                <a:gd name="connsiteY3" fmla="*/ 214283 h 883735"/>
                <a:gd name="connsiteX4" fmla="*/ 1614145 w 1614244"/>
                <a:gd name="connsiteY4" fmla="*/ 509733 h 883735"/>
                <a:gd name="connsiteX5" fmla="*/ 1604767 w 1614244"/>
                <a:gd name="connsiteY5" fmla="*/ 883735 h 883735"/>
                <a:gd name="connsiteX6" fmla="*/ 1532082 w 1614244"/>
                <a:gd name="connsiteY6" fmla="*/ 867321 h 883735"/>
                <a:gd name="connsiteX7" fmla="*/ 54021 w 1614244"/>
                <a:gd name="connsiteY7" fmla="*/ 721231 h 883735"/>
                <a:gd name="connsiteX8" fmla="*/ 0 w 1614244"/>
                <a:gd name="connsiteY8" fmla="*/ 715892 h 883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14244" h="883735">
                  <a:moveTo>
                    <a:pt x="0" y="0"/>
                  </a:moveTo>
                  <a:lnTo>
                    <a:pt x="827794" y="0"/>
                  </a:lnTo>
                  <a:lnTo>
                    <a:pt x="1088662" y="95411"/>
                  </a:lnTo>
                  <a:cubicBezTo>
                    <a:pt x="1190088" y="132507"/>
                    <a:pt x="1298277" y="172076"/>
                    <a:pt x="1413677" y="214283"/>
                  </a:cubicBezTo>
                  <a:cubicBezTo>
                    <a:pt x="1527393" y="256490"/>
                    <a:pt x="1617662" y="388974"/>
                    <a:pt x="1614145" y="509733"/>
                  </a:cubicBezTo>
                  <a:cubicBezTo>
                    <a:pt x="1614145" y="509733"/>
                    <a:pt x="1614145" y="509733"/>
                    <a:pt x="1604767" y="883735"/>
                  </a:cubicBezTo>
                  <a:cubicBezTo>
                    <a:pt x="1580148" y="875528"/>
                    <a:pt x="1555529" y="869666"/>
                    <a:pt x="1532082" y="867321"/>
                  </a:cubicBezTo>
                  <a:cubicBezTo>
                    <a:pt x="1532082" y="867321"/>
                    <a:pt x="1532082" y="867321"/>
                    <a:pt x="54021" y="721231"/>
                  </a:cubicBezTo>
                  <a:lnTo>
                    <a:pt x="0" y="715892"/>
                  </a:lnTo>
                  <a:close/>
                </a:path>
              </a:pathLst>
            </a:custGeom>
            <a:solidFill>
              <a:schemeClr val="accent5"/>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grpSp>
      <p:pic>
        <p:nvPicPr>
          <p:cNvPr id="4" name="Grafik 3"/>
          <p:cNvPicPr>
            <a:picLocks noChangeAspect="1"/>
          </p:cNvPicPr>
          <p:nvPr userDrawn="1"/>
        </p:nvPicPr>
        <p:blipFill>
          <a:blip r:embed="rId5"/>
          <a:stretch>
            <a:fillRect/>
          </a:stretch>
        </p:blipFill>
        <p:spPr bwMode="gray">
          <a:xfrm>
            <a:off x="1271744" y="5271235"/>
            <a:ext cx="2520000" cy="1254109"/>
          </a:xfrm>
          <a:prstGeom prst="rect">
            <a:avLst/>
          </a:prstGeom>
        </p:spPr>
      </p:pic>
      <p:grpSp>
        <p:nvGrpSpPr>
          <p:cNvPr id="13" name="Logo Merck"/>
          <p:cNvGrpSpPr>
            <a:grpSpLocks noChangeAspect="1"/>
          </p:cNvGrpSpPr>
          <p:nvPr userDrawn="1"/>
        </p:nvGrpSpPr>
        <p:grpSpPr bwMode="gray">
          <a:xfrm>
            <a:off x="9536024" y="6170950"/>
            <a:ext cx="2248608" cy="354050"/>
            <a:chOff x="396364" y="7173520"/>
            <a:chExt cx="1871956" cy="294745"/>
          </a:xfrm>
          <a:solidFill>
            <a:schemeClr val="accent5"/>
          </a:solidFill>
        </p:grpSpPr>
        <p:sp>
          <p:nvSpPr>
            <p:cNvPr id="15" name="Freeform 5"/>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5404899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rganic">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5" name="Object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4" name="Rectangle 13"/>
          <p:cNvSpPr/>
          <p:nvPr userDrawn="1"/>
        </p:nvSpPr>
        <p:spPr bwMode="gray">
          <a:xfrm>
            <a:off x="1" y="0"/>
            <a:ext cx="12192000" cy="6858001"/>
          </a:xfrm>
          <a:prstGeom prst="rect">
            <a:avLst/>
          </a:prstGeom>
          <a:solidFill>
            <a:schemeClr val="bg2"/>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16" name="Freeform 15"/>
          <p:cNvSpPr/>
          <p:nvPr userDrawn="1"/>
        </p:nvSpPr>
        <p:spPr bwMode="gray">
          <a:xfrm>
            <a:off x="0" y="0"/>
            <a:ext cx="12192000" cy="6858000"/>
          </a:xfrm>
          <a:custGeom>
            <a:avLst/>
            <a:gdLst>
              <a:gd name="connsiteX0" fmla="*/ 3028369 w 12192000"/>
              <a:gd name="connsiteY0" fmla="*/ 0 h 6858000"/>
              <a:gd name="connsiteX1" fmla="*/ 6019945 w 12192000"/>
              <a:gd name="connsiteY1" fmla="*/ 0 h 6858000"/>
              <a:gd name="connsiteX2" fmla="*/ 6010517 w 12192000"/>
              <a:gd name="connsiteY2" fmla="*/ 24413 h 6858000"/>
              <a:gd name="connsiteX3" fmla="*/ 5988728 w 12192000"/>
              <a:gd name="connsiteY3" fmla="*/ 542902 h 6858000"/>
              <a:gd name="connsiteX4" fmla="*/ 8283293 w 12192000"/>
              <a:gd name="connsiteY4" fmla="*/ 2994229 h 6858000"/>
              <a:gd name="connsiteX5" fmla="*/ 11934313 w 12192000"/>
              <a:gd name="connsiteY5" fmla="*/ 4275389 h 6858000"/>
              <a:gd name="connsiteX6" fmla="*/ 12139920 w 12192000"/>
              <a:gd name="connsiteY6" fmla="*/ 4248830 h 6858000"/>
              <a:gd name="connsiteX7" fmla="*/ 12192000 w 12192000"/>
              <a:gd name="connsiteY7" fmla="*/ 4238176 h 6858000"/>
              <a:gd name="connsiteX8" fmla="*/ 12192000 w 12192000"/>
              <a:gd name="connsiteY8" fmla="*/ 4877795 h 6858000"/>
              <a:gd name="connsiteX9" fmla="*/ 12173693 w 12192000"/>
              <a:gd name="connsiteY9" fmla="*/ 4890450 h 6858000"/>
              <a:gd name="connsiteX10" fmla="*/ 11823388 w 12192000"/>
              <a:gd name="connsiteY10" fmla="*/ 5651684 h 6858000"/>
              <a:gd name="connsiteX11" fmla="*/ 12181381 w 12192000"/>
              <a:gd name="connsiteY11" fmla="*/ 6745688 h 6858000"/>
              <a:gd name="connsiteX12" fmla="*/ 12192000 w 12192000"/>
              <a:gd name="connsiteY12" fmla="*/ 6767229 h 6858000"/>
              <a:gd name="connsiteX13" fmla="*/ 12192000 w 12192000"/>
              <a:gd name="connsiteY13" fmla="*/ 6858000 h 6858000"/>
              <a:gd name="connsiteX14" fmla="*/ 11748516 w 12192000"/>
              <a:gd name="connsiteY14" fmla="*/ 6858000 h 6858000"/>
              <a:gd name="connsiteX15" fmla="*/ 11744223 w 12192000"/>
              <a:gd name="connsiteY15" fmla="*/ 6845586 h 6858000"/>
              <a:gd name="connsiteX16" fmla="*/ 11424057 w 12192000"/>
              <a:gd name="connsiteY16" fmla="*/ 5987830 h 6858000"/>
              <a:gd name="connsiteX17" fmla="*/ 8644592 w 12192000"/>
              <a:gd name="connsiteY17" fmla="*/ 3856792 h 6858000"/>
              <a:gd name="connsiteX18" fmla="*/ 5459457 w 12192000"/>
              <a:gd name="connsiteY18" fmla="*/ 4687643 h 6858000"/>
              <a:gd name="connsiteX19" fmla="*/ 4527600 w 12192000"/>
              <a:gd name="connsiteY19" fmla="*/ 6636628 h 6858000"/>
              <a:gd name="connsiteX20" fmla="*/ 4523380 w 12192000"/>
              <a:gd name="connsiteY20" fmla="*/ 6858000 h 6858000"/>
              <a:gd name="connsiteX21" fmla="*/ 4101261 w 12192000"/>
              <a:gd name="connsiteY21" fmla="*/ 6858000 h 6858000"/>
              <a:gd name="connsiteX22" fmla="*/ 4129024 w 12192000"/>
              <a:gd name="connsiteY22" fmla="*/ 6686756 h 6858000"/>
              <a:gd name="connsiteX23" fmla="*/ 5583060 w 12192000"/>
              <a:gd name="connsiteY23" fmla="*/ 860020 h 6858000"/>
              <a:gd name="connsiteX24" fmla="*/ 3662471 w 12192000"/>
              <a:gd name="connsiteY24" fmla="*/ 270180 h 6858000"/>
              <a:gd name="connsiteX25" fmla="*/ 198439 w 12192000"/>
              <a:gd name="connsiteY25" fmla="*/ 2486840 h 6858000"/>
              <a:gd name="connsiteX26" fmla="*/ 0 w 12192000"/>
              <a:gd name="connsiteY26" fmla="*/ 2850498 h 6858000"/>
              <a:gd name="connsiteX27" fmla="*/ 0 w 12192000"/>
              <a:gd name="connsiteY27" fmla="*/ 651095 h 6858000"/>
              <a:gd name="connsiteX28" fmla="*/ 13333 w 12192000"/>
              <a:gd name="connsiteY28" fmla="*/ 659740 h 6858000"/>
              <a:gd name="connsiteX29" fmla="*/ 1529540 w 12192000"/>
              <a:gd name="connsiteY29" fmla="*/ 571443 h 6858000"/>
              <a:gd name="connsiteX30" fmla="*/ 2758320 w 12192000"/>
              <a:gd name="connsiteY30" fmla="*/ 1001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92000" h="6858000">
                <a:moveTo>
                  <a:pt x="3028369" y="0"/>
                </a:moveTo>
                <a:lnTo>
                  <a:pt x="6019945" y="0"/>
                </a:lnTo>
                <a:lnTo>
                  <a:pt x="6010517" y="24413"/>
                </a:lnTo>
                <a:cubicBezTo>
                  <a:pt x="5959413" y="184558"/>
                  <a:pt x="5947528" y="357387"/>
                  <a:pt x="5988728" y="542902"/>
                </a:cubicBezTo>
                <a:cubicBezTo>
                  <a:pt x="6483137" y="1684529"/>
                  <a:pt x="7269121" y="2328280"/>
                  <a:pt x="8283293" y="2994229"/>
                </a:cubicBezTo>
                <a:cubicBezTo>
                  <a:pt x="9376697" y="3714089"/>
                  <a:pt x="10672936" y="4269046"/>
                  <a:pt x="11934313" y="4275389"/>
                </a:cubicBezTo>
                <a:cubicBezTo>
                  <a:pt x="11977098" y="4275389"/>
                  <a:pt x="12048407" y="4265875"/>
                  <a:pt x="12139920" y="4248830"/>
                </a:cubicBezTo>
                <a:lnTo>
                  <a:pt x="12192000" y="4238176"/>
                </a:lnTo>
                <a:lnTo>
                  <a:pt x="12192000" y="4877795"/>
                </a:lnTo>
                <a:lnTo>
                  <a:pt x="12173693" y="4890450"/>
                </a:lnTo>
                <a:cubicBezTo>
                  <a:pt x="11925003" y="5082654"/>
                  <a:pt x="11809126" y="5309196"/>
                  <a:pt x="11823388" y="5651684"/>
                </a:cubicBezTo>
                <a:cubicBezTo>
                  <a:pt x="11831707" y="5818171"/>
                  <a:pt x="11946792" y="6244448"/>
                  <a:pt x="12181381" y="6745688"/>
                </a:cubicBezTo>
                <a:lnTo>
                  <a:pt x="12192000" y="6767229"/>
                </a:lnTo>
                <a:lnTo>
                  <a:pt x="12192000" y="6858000"/>
                </a:lnTo>
                <a:lnTo>
                  <a:pt x="11748516" y="6858000"/>
                </a:lnTo>
                <a:lnTo>
                  <a:pt x="11744223" y="6845586"/>
                </a:lnTo>
                <a:cubicBezTo>
                  <a:pt x="11639321" y="6545909"/>
                  <a:pt x="11479520" y="6112695"/>
                  <a:pt x="11424057" y="5987830"/>
                </a:cubicBezTo>
                <a:cubicBezTo>
                  <a:pt x="10920140" y="4849374"/>
                  <a:pt x="9953508" y="3920216"/>
                  <a:pt x="8644592" y="3856792"/>
                </a:cubicBezTo>
                <a:cubicBezTo>
                  <a:pt x="7446601" y="3799711"/>
                  <a:pt x="6365874" y="3986811"/>
                  <a:pt x="5459457" y="4687643"/>
                </a:cubicBezTo>
                <a:cubicBezTo>
                  <a:pt x="4849369" y="5159357"/>
                  <a:pt x="4574137" y="5876293"/>
                  <a:pt x="4527600" y="6636628"/>
                </a:cubicBezTo>
                <a:lnTo>
                  <a:pt x="4523380" y="6858000"/>
                </a:lnTo>
                <a:lnTo>
                  <a:pt x="4101261" y="6858000"/>
                </a:lnTo>
                <a:lnTo>
                  <a:pt x="4129024" y="6686756"/>
                </a:lnTo>
                <a:cubicBezTo>
                  <a:pt x="4619962" y="3869418"/>
                  <a:pt x="5877804" y="2678696"/>
                  <a:pt x="5583060" y="860020"/>
                </a:cubicBezTo>
                <a:cubicBezTo>
                  <a:pt x="5434103" y="-59624"/>
                  <a:pt x="4099833" y="127476"/>
                  <a:pt x="3662471" y="270180"/>
                </a:cubicBezTo>
                <a:cubicBezTo>
                  <a:pt x="1529540" y="980525"/>
                  <a:pt x="1031962" y="1034436"/>
                  <a:pt x="198439" y="2486840"/>
                </a:cubicBezTo>
                <a:lnTo>
                  <a:pt x="0" y="2850498"/>
                </a:lnTo>
                <a:lnTo>
                  <a:pt x="0" y="651095"/>
                </a:lnTo>
                <a:lnTo>
                  <a:pt x="13333" y="659740"/>
                </a:lnTo>
                <a:cubicBezTo>
                  <a:pt x="306591" y="810471"/>
                  <a:pt x="766534" y="821173"/>
                  <a:pt x="1529540" y="571443"/>
                </a:cubicBezTo>
                <a:cubicBezTo>
                  <a:pt x="1798930" y="482253"/>
                  <a:pt x="2293636" y="276621"/>
                  <a:pt x="2758320" y="100100"/>
                </a:cubicBezTo>
                <a:close/>
              </a:path>
            </a:pathLst>
          </a:custGeom>
          <a:solidFill>
            <a:srgbClr val="FFC83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7" name="Freeform 16"/>
          <p:cNvSpPr/>
          <p:nvPr userDrawn="1"/>
        </p:nvSpPr>
        <p:spPr bwMode="gray">
          <a:xfrm>
            <a:off x="0" y="0"/>
            <a:ext cx="12192000" cy="6858000"/>
          </a:xfrm>
          <a:custGeom>
            <a:avLst/>
            <a:gdLst>
              <a:gd name="connsiteX0" fmla="*/ 349336 w 12160800"/>
              <a:gd name="connsiteY0" fmla="*/ 0 h 6858000"/>
              <a:gd name="connsiteX1" fmla="*/ 2343649 w 12160800"/>
              <a:gd name="connsiteY1" fmla="*/ 0 h 6858000"/>
              <a:gd name="connsiteX2" fmla="*/ 2362300 w 12160800"/>
              <a:gd name="connsiteY2" fmla="*/ 74444 h 6858000"/>
              <a:gd name="connsiteX3" fmla="*/ 3066495 w 12160800"/>
              <a:gd name="connsiteY3" fmla="*/ 1483638 h 6858000"/>
              <a:gd name="connsiteX4" fmla="*/ 3887362 w 12160800"/>
              <a:gd name="connsiteY4" fmla="*/ 1569259 h 6858000"/>
              <a:gd name="connsiteX5" fmla="*/ 4635346 w 12160800"/>
              <a:gd name="connsiteY5" fmla="*/ 56135 h 6858000"/>
              <a:gd name="connsiteX6" fmla="*/ 4613106 w 12160800"/>
              <a:gd name="connsiteY6" fmla="*/ 0 h 6858000"/>
              <a:gd name="connsiteX7" fmla="*/ 12160800 w 12160800"/>
              <a:gd name="connsiteY7" fmla="*/ 0 h 6858000"/>
              <a:gd name="connsiteX8" fmla="*/ 12160800 w 12160800"/>
              <a:gd name="connsiteY8" fmla="*/ 6858000 h 6858000"/>
              <a:gd name="connsiteX9" fmla="*/ 6255540 w 12160800"/>
              <a:gd name="connsiteY9" fmla="*/ 6858000 h 6858000"/>
              <a:gd name="connsiteX10" fmla="*/ 6191495 w 12160800"/>
              <a:gd name="connsiteY10" fmla="*/ 6468735 h 6858000"/>
              <a:gd name="connsiteX11" fmla="*/ 5449862 w 12160800"/>
              <a:gd name="connsiteY11" fmla="*/ 4474062 h 6858000"/>
              <a:gd name="connsiteX12" fmla="*/ 4895222 w 12160800"/>
              <a:gd name="connsiteY12" fmla="*/ 3322923 h 6858000"/>
              <a:gd name="connsiteX13" fmla="*/ 2527702 w 12160800"/>
              <a:gd name="connsiteY13" fmla="*/ 2714056 h 6858000"/>
              <a:gd name="connsiteX14" fmla="*/ 870120 w 12160800"/>
              <a:gd name="connsiteY14" fmla="*/ 4667504 h 6858000"/>
              <a:gd name="connsiteX15" fmla="*/ 677253 w 12160800"/>
              <a:gd name="connsiteY15" fmla="*/ 6722405 h 6858000"/>
              <a:gd name="connsiteX16" fmla="*/ 731247 w 12160800"/>
              <a:gd name="connsiteY16" fmla="*/ 6858000 h 6858000"/>
              <a:gd name="connsiteX17" fmla="*/ 0 w 12160800"/>
              <a:gd name="connsiteY17" fmla="*/ 6858000 h 6858000"/>
              <a:gd name="connsiteX18" fmla="*/ 0 w 12160800"/>
              <a:gd name="connsiteY18" fmla="*/ 4583499 h 6858000"/>
              <a:gd name="connsiteX19" fmla="*/ 125318 w 12160800"/>
              <a:gd name="connsiteY19" fmla="*/ 4534314 h 6858000"/>
              <a:gd name="connsiteX20" fmla="*/ 2207595 w 12160800"/>
              <a:gd name="connsiteY20" fmla="*/ 2580866 h 6858000"/>
              <a:gd name="connsiteX21" fmla="*/ 2404096 w 12160800"/>
              <a:gd name="connsiteY21" fmla="*/ 674986 h 6858000"/>
              <a:gd name="connsiteX22" fmla="*/ 1418422 w 12160800"/>
              <a:gd name="connsiteY22" fmla="*/ 9038 h 6858000"/>
              <a:gd name="connsiteX23" fmla="*/ 88715 w 12160800"/>
              <a:gd name="connsiteY23" fmla="*/ 380165 h 6858000"/>
              <a:gd name="connsiteX24" fmla="*/ 0 w 12160800"/>
              <a:gd name="connsiteY24" fmla="*/ 432649 h 6858000"/>
              <a:gd name="connsiteX25" fmla="*/ 0 w 12160800"/>
              <a:gd name="connsiteY25" fmla="*/ 218659 h 6858000"/>
              <a:gd name="connsiteX26" fmla="*/ 3446 w 12160800"/>
              <a:gd name="connsiteY26" fmla="*/ 216602 h 6858000"/>
              <a:gd name="connsiteX27" fmla="*/ 331723 w 12160800"/>
              <a:gd name="connsiteY27" fmla="*/ 1181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60800" h="6858000">
                <a:moveTo>
                  <a:pt x="349336" y="0"/>
                </a:moveTo>
                <a:lnTo>
                  <a:pt x="2343649" y="0"/>
                </a:lnTo>
                <a:lnTo>
                  <a:pt x="2362300" y="74444"/>
                </a:lnTo>
                <a:cubicBezTo>
                  <a:pt x="2552462" y="724338"/>
                  <a:pt x="2869202" y="1267204"/>
                  <a:pt x="3066495" y="1483638"/>
                </a:cubicBezTo>
                <a:cubicBezTo>
                  <a:pt x="3180592" y="1610485"/>
                  <a:pt x="3510207" y="1750017"/>
                  <a:pt x="3887362" y="1569259"/>
                </a:cubicBezTo>
                <a:cubicBezTo>
                  <a:pt x="4392085" y="1325078"/>
                  <a:pt x="4857982" y="738559"/>
                  <a:pt x="4635346" y="56135"/>
                </a:cubicBezTo>
                <a:lnTo>
                  <a:pt x="4613106" y="0"/>
                </a:lnTo>
                <a:lnTo>
                  <a:pt x="12160800" y="0"/>
                </a:lnTo>
                <a:lnTo>
                  <a:pt x="12160800" y="6858000"/>
                </a:lnTo>
                <a:lnTo>
                  <a:pt x="6255540" y="6858000"/>
                </a:lnTo>
                <a:lnTo>
                  <a:pt x="6191495" y="6468735"/>
                </a:lnTo>
                <a:cubicBezTo>
                  <a:pt x="6052043" y="5780588"/>
                  <a:pt x="5760461" y="5120983"/>
                  <a:pt x="5449862" y="4474062"/>
                </a:cubicBezTo>
                <a:cubicBezTo>
                  <a:pt x="5430846" y="4436007"/>
                  <a:pt x="5120248" y="3808114"/>
                  <a:pt x="4895222" y="3322923"/>
                </a:cubicBezTo>
                <a:cubicBezTo>
                  <a:pt x="4473696" y="2409622"/>
                  <a:pt x="3082342" y="2162270"/>
                  <a:pt x="2527702" y="2714056"/>
                </a:cubicBezTo>
                <a:cubicBezTo>
                  <a:pt x="2042788" y="3199247"/>
                  <a:pt x="1082468" y="4302818"/>
                  <a:pt x="870120" y="4667504"/>
                </a:cubicBezTo>
                <a:cubicBezTo>
                  <a:pt x="495738" y="5314028"/>
                  <a:pt x="439234" y="6018823"/>
                  <a:pt x="677253" y="6722405"/>
                </a:cubicBezTo>
                <a:lnTo>
                  <a:pt x="731247" y="6858000"/>
                </a:lnTo>
                <a:lnTo>
                  <a:pt x="0" y="6858000"/>
                </a:lnTo>
                <a:lnTo>
                  <a:pt x="0" y="4583499"/>
                </a:lnTo>
                <a:lnTo>
                  <a:pt x="125318" y="4534314"/>
                </a:lnTo>
                <a:cubicBezTo>
                  <a:pt x="1028589" y="4156944"/>
                  <a:pt x="1789238" y="3465626"/>
                  <a:pt x="2207595" y="2580866"/>
                </a:cubicBezTo>
                <a:cubicBezTo>
                  <a:pt x="2473823" y="2010054"/>
                  <a:pt x="2679832" y="1299709"/>
                  <a:pt x="2404096" y="674986"/>
                </a:cubicBezTo>
                <a:cubicBezTo>
                  <a:pt x="2229781" y="288102"/>
                  <a:pt x="1843118" y="18552"/>
                  <a:pt x="1418422" y="9038"/>
                </a:cubicBezTo>
                <a:cubicBezTo>
                  <a:pt x="966390" y="-4836"/>
                  <a:pt x="516785" y="141534"/>
                  <a:pt x="88715" y="380165"/>
                </a:cubicBezTo>
                <a:lnTo>
                  <a:pt x="0" y="432649"/>
                </a:lnTo>
                <a:lnTo>
                  <a:pt x="0" y="218659"/>
                </a:lnTo>
                <a:lnTo>
                  <a:pt x="3446" y="216602"/>
                </a:lnTo>
                <a:cubicBezTo>
                  <a:pt x="117494" y="147282"/>
                  <a:pt x="227332" y="79002"/>
                  <a:pt x="331723" y="11813"/>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7" name="Text Placeholder 12"/>
          <p:cNvSpPr>
            <a:spLocks noGrp="1"/>
          </p:cNvSpPr>
          <p:nvPr>
            <p:ph type="body" sz="quarter" idx="10" hasCustomPrompt="1"/>
          </p:nvPr>
        </p:nvSpPr>
        <p:spPr bwMode="gray">
          <a:xfrm>
            <a:off x="5808663" y="3501000"/>
            <a:ext cx="5759450" cy="576263"/>
          </a:xfrm>
          <a:prstGeom prst="rect">
            <a:avLst/>
          </a:prstGeom>
        </p:spPr>
        <p:txBody>
          <a:bodyPr>
            <a:noAutofit/>
          </a:bodyPr>
          <a:lstStyle>
            <a:lvl1pPr marL="0" indent="0">
              <a:spcBef>
                <a:spcPts val="0"/>
              </a:spcBef>
              <a:spcAft>
                <a:spcPts val="0"/>
              </a:spcAft>
              <a:buFont typeface="Arial" panose="020B0604020202020204" pitchFamily="34" charset="0"/>
              <a:buNone/>
              <a:defRPr baseline="0">
                <a:solidFill>
                  <a:schemeClr val="accent4"/>
                </a:solidFill>
              </a:defRPr>
            </a:lvl1pPr>
            <a:lvl2pPr marL="0" indent="0">
              <a:spcBef>
                <a:spcPts val="0"/>
              </a:spcBef>
              <a:spcAft>
                <a:spcPts val="0"/>
              </a:spcAft>
              <a:buNone/>
              <a:defRPr>
                <a:solidFill>
                  <a:schemeClr val="accent4"/>
                </a:solidFill>
              </a:defRPr>
            </a:lvl2pPr>
            <a:lvl3pPr marL="0" indent="0">
              <a:spcBef>
                <a:spcPts val="0"/>
              </a:spcBef>
              <a:spcAft>
                <a:spcPts val="0"/>
              </a:spcAft>
              <a:buNone/>
              <a:defRPr>
                <a:solidFill>
                  <a:schemeClr val="accent4"/>
                </a:solidFill>
              </a:defRPr>
            </a:lvl3pPr>
            <a:lvl4pPr marL="0" indent="0">
              <a:spcBef>
                <a:spcPts val="0"/>
              </a:spcBef>
              <a:spcAft>
                <a:spcPts val="0"/>
              </a:spcAft>
              <a:buNone/>
              <a:defRPr>
                <a:solidFill>
                  <a:schemeClr val="accent4"/>
                </a:solidFill>
              </a:defRPr>
            </a:lvl4pPr>
            <a:lvl5pPr marL="0" indent="0">
              <a:spcBef>
                <a:spcPts val="0"/>
              </a:spcBef>
              <a:spcAft>
                <a:spcPts val="0"/>
              </a:spcAft>
              <a:buNone/>
              <a:defRPr>
                <a:solidFill>
                  <a:schemeClr val="accent4"/>
                </a:solidFill>
              </a:defRPr>
            </a:lvl5pPr>
            <a:lvl6pPr marL="0" indent="0">
              <a:spcBef>
                <a:spcPts val="0"/>
              </a:spcBef>
              <a:spcAft>
                <a:spcPts val="0"/>
              </a:spcAft>
              <a:buNone/>
              <a:defRPr>
                <a:solidFill>
                  <a:schemeClr val="accent4"/>
                </a:solidFill>
              </a:defRPr>
            </a:lvl6pPr>
            <a:lvl7pPr marL="0" indent="0">
              <a:spcBef>
                <a:spcPts val="0"/>
              </a:spcBef>
              <a:spcAft>
                <a:spcPts val="0"/>
              </a:spcAft>
              <a:buNone/>
              <a:defRPr>
                <a:solidFill>
                  <a:schemeClr val="accent4"/>
                </a:solidFill>
              </a:defRPr>
            </a:lvl7pPr>
            <a:lvl8pPr marL="0" indent="0">
              <a:spcBef>
                <a:spcPts val="0"/>
              </a:spcBef>
              <a:spcAft>
                <a:spcPts val="0"/>
              </a:spcAft>
              <a:buNone/>
              <a:defRPr>
                <a:solidFill>
                  <a:schemeClr val="accent4"/>
                </a:solidFill>
              </a:defRPr>
            </a:lvl8pPr>
            <a:lvl9pPr marL="0" indent="0">
              <a:spcBef>
                <a:spcPts val="0"/>
              </a:spcBef>
              <a:spcAft>
                <a:spcPts val="0"/>
              </a:spcAft>
              <a:buNone/>
              <a:defRPr>
                <a:solidFill>
                  <a:schemeClr val="accent4"/>
                </a:solidFill>
              </a:defRPr>
            </a:lvl9pPr>
          </a:lstStyle>
          <a:p>
            <a:r>
              <a:rPr lang="en-US" noProof="0"/>
              <a:t>Name</a:t>
            </a:r>
          </a:p>
          <a:p>
            <a:r>
              <a:rPr lang="en-US" noProof="0"/>
              <a:t>Place, Date</a:t>
            </a:r>
          </a:p>
        </p:txBody>
      </p:sp>
      <p:sp>
        <p:nvSpPr>
          <p:cNvPr id="3" name="Subtitle 2"/>
          <p:cNvSpPr>
            <a:spLocks noGrp="1"/>
          </p:cNvSpPr>
          <p:nvPr>
            <p:ph type="subTitle" idx="1" hasCustomPrompt="1"/>
          </p:nvPr>
        </p:nvSpPr>
        <p:spPr bwMode="gray">
          <a:xfrm>
            <a:off x="5807692" y="2709681"/>
            <a:ext cx="5760420" cy="647311"/>
          </a:xfrm>
          <a:prstGeom prst="rect">
            <a:avLst/>
          </a:prstGeom>
        </p:spPr>
        <p:txBody>
          <a:bodyPr>
            <a:noAutofit/>
          </a:bodyPr>
          <a:lstStyle>
            <a:lvl1pPr marL="0" indent="0" algn="l">
              <a:spcBef>
                <a:spcPts val="0"/>
              </a:spcBef>
              <a:spcAft>
                <a:spcPts val="1200"/>
              </a:spcAft>
              <a:buNone/>
              <a:defRPr sz="1600" b="1" i="0" baseline="0">
                <a:solidFill>
                  <a:schemeClr val="accent4"/>
                </a:solidFill>
                <a:latin typeface="+mn-lt"/>
              </a:defRPr>
            </a:lvl1pPr>
            <a:lvl2pPr marL="0" indent="0" algn="l">
              <a:spcBef>
                <a:spcPts val="0"/>
              </a:spcBef>
              <a:spcAft>
                <a:spcPts val="1200"/>
              </a:spcAft>
              <a:buNone/>
              <a:defRPr sz="1600" b="1">
                <a:solidFill>
                  <a:schemeClr val="accent4"/>
                </a:solidFill>
              </a:defRPr>
            </a:lvl2pPr>
            <a:lvl3pPr marL="0" indent="0" algn="l">
              <a:spcBef>
                <a:spcPts val="0"/>
              </a:spcBef>
              <a:spcAft>
                <a:spcPts val="1200"/>
              </a:spcAft>
              <a:buNone/>
              <a:defRPr sz="1600" b="1">
                <a:solidFill>
                  <a:schemeClr val="accent4"/>
                </a:solidFill>
              </a:defRPr>
            </a:lvl3pPr>
            <a:lvl4pPr marL="0" indent="0" algn="l">
              <a:spcBef>
                <a:spcPts val="0"/>
              </a:spcBef>
              <a:spcAft>
                <a:spcPts val="1200"/>
              </a:spcAft>
              <a:buNone/>
              <a:defRPr sz="1600" b="1">
                <a:solidFill>
                  <a:schemeClr val="accent4"/>
                </a:solidFill>
              </a:defRPr>
            </a:lvl4pPr>
            <a:lvl5pPr marL="0" indent="0" algn="l">
              <a:spcBef>
                <a:spcPts val="0"/>
              </a:spcBef>
              <a:spcAft>
                <a:spcPts val="1200"/>
              </a:spcAft>
              <a:buNone/>
              <a:defRPr sz="1600" b="1">
                <a:solidFill>
                  <a:schemeClr val="accent4"/>
                </a:solidFill>
              </a:defRPr>
            </a:lvl5pPr>
            <a:lvl6pPr marL="0" indent="0" algn="l">
              <a:spcBef>
                <a:spcPts val="0"/>
              </a:spcBef>
              <a:spcAft>
                <a:spcPts val="1200"/>
              </a:spcAft>
              <a:buNone/>
              <a:defRPr sz="1600" b="1">
                <a:solidFill>
                  <a:schemeClr val="accent4"/>
                </a:solidFill>
              </a:defRPr>
            </a:lvl6pPr>
            <a:lvl7pPr marL="0" indent="0" algn="l">
              <a:spcBef>
                <a:spcPts val="0"/>
              </a:spcBef>
              <a:spcAft>
                <a:spcPts val="1200"/>
              </a:spcAft>
              <a:buNone/>
              <a:defRPr sz="1600" b="1">
                <a:solidFill>
                  <a:schemeClr val="accent4"/>
                </a:solidFill>
              </a:defRPr>
            </a:lvl7pPr>
            <a:lvl8pPr marL="0" indent="0" algn="l">
              <a:spcBef>
                <a:spcPts val="0"/>
              </a:spcBef>
              <a:spcAft>
                <a:spcPts val="1200"/>
              </a:spcAft>
              <a:buNone/>
              <a:defRPr sz="1600" b="1">
                <a:solidFill>
                  <a:schemeClr val="accent4"/>
                </a:solidFill>
              </a:defRPr>
            </a:lvl8pPr>
            <a:lvl9pPr marL="0" indent="0" algn="l">
              <a:spcBef>
                <a:spcPts val="0"/>
              </a:spcBef>
              <a:spcAft>
                <a:spcPts val="1200"/>
              </a:spcAft>
              <a:buNone/>
              <a:defRPr sz="1600" b="1">
                <a:solidFill>
                  <a:schemeClr val="accent4"/>
                </a:solidFill>
              </a:defRPr>
            </a:lvl9pPr>
          </a:lstStyle>
          <a:p>
            <a:r>
              <a:rPr lang="en-US" noProof="0"/>
              <a:t>Subtitle and other information of this presentation</a:t>
            </a:r>
          </a:p>
        </p:txBody>
      </p:sp>
      <p:sp>
        <p:nvSpPr>
          <p:cNvPr id="2" name="Title 1"/>
          <p:cNvSpPr>
            <a:spLocks noGrp="1"/>
          </p:cNvSpPr>
          <p:nvPr>
            <p:ph type="ctrTitle" hasCustomPrompt="1"/>
          </p:nvPr>
        </p:nvSpPr>
        <p:spPr bwMode="gray">
          <a:xfrm>
            <a:off x="5807692" y="1316405"/>
            <a:ext cx="5760420" cy="1249282"/>
          </a:xfrm>
          <a:prstGeom prst="rect">
            <a:avLst/>
          </a:prstGeom>
          <a:noFill/>
        </p:spPr>
        <p:txBody>
          <a:bodyPr anchor="b"/>
          <a:lstStyle>
            <a:lvl1pPr algn="l">
              <a:lnSpc>
                <a:spcPct val="100000"/>
              </a:lnSpc>
              <a:defRPr sz="4000" cap="none" baseline="0">
                <a:solidFill>
                  <a:schemeClr val="bg2"/>
                </a:solidFill>
                <a:latin typeface="Merck" panose="04040805020F02020302" pitchFamily="82" charset="0"/>
                <a:ea typeface="Verdana" panose="020B0604030504040204" pitchFamily="34" charset="0"/>
                <a:cs typeface="Verdana" panose="020B0604030504040204" pitchFamily="34" charset="0"/>
              </a:defRPr>
            </a:lvl1pPr>
          </a:lstStyle>
          <a:p>
            <a:r>
              <a:rPr lang="en-US" noProof="0"/>
              <a:t>Title of presentation</a:t>
            </a:r>
          </a:p>
        </p:txBody>
      </p:sp>
      <p:grpSp>
        <p:nvGrpSpPr>
          <p:cNvPr id="11" name="Logo Merck"/>
          <p:cNvGrpSpPr>
            <a:grpSpLocks noChangeAspect="1"/>
          </p:cNvGrpSpPr>
          <p:nvPr userDrawn="1"/>
        </p:nvGrpSpPr>
        <p:grpSpPr bwMode="gray">
          <a:xfrm>
            <a:off x="9536024" y="6170950"/>
            <a:ext cx="2248608" cy="354050"/>
            <a:chOff x="396364" y="7173520"/>
            <a:chExt cx="1871956" cy="294745"/>
          </a:xfrm>
          <a:solidFill>
            <a:schemeClr val="accent4"/>
          </a:solidFill>
        </p:grpSpPr>
        <p:sp>
          <p:nvSpPr>
            <p:cNvPr id="12" name="Freeform 5"/>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nvGrpSpPr>
          <p:cNvPr id="35" name="Group 34"/>
          <p:cNvGrpSpPr>
            <a:grpSpLocks noChangeAspect="1"/>
          </p:cNvGrpSpPr>
          <p:nvPr userDrawn="1"/>
        </p:nvGrpSpPr>
        <p:grpSpPr>
          <a:xfrm>
            <a:off x="983752" y="5070131"/>
            <a:ext cx="2880000" cy="1446140"/>
            <a:chOff x="-85296375" y="18191163"/>
            <a:chExt cx="195448238" cy="98140837"/>
          </a:xfrm>
        </p:grpSpPr>
        <p:sp>
          <p:nvSpPr>
            <p:cNvPr id="36" name="Freeform 33"/>
            <p:cNvSpPr>
              <a:spLocks/>
            </p:cNvSpPr>
            <p:nvPr userDrawn="1"/>
          </p:nvSpPr>
          <p:spPr bwMode="auto">
            <a:xfrm>
              <a:off x="-83958112" y="19589750"/>
              <a:ext cx="174477363" cy="95365887"/>
            </a:xfrm>
            <a:custGeom>
              <a:avLst/>
              <a:gdLst>
                <a:gd name="T0" fmla="*/ 45081 w 46525"/>
                <a:gd name="T1" fmla="*/ 22916 h 25428"/>
                <a:gd name="T2" fmla="*/ 44326 w 46525"/>
                <a:gd name="T3" fmla="*/ 21145 h 25428"/>
                <a:gd name="T4" fmla="*/ 44204 w 46525"/>
                <a:gd name="T5" fmla="*/ 16995 h 25428"/>
                <a:gd name="T6" fmla="*/ 43209 w 46525"/>
                <a:gd name="T7" fmla="*/ 14732 h 25428"/>
                <a:gd name="T8" fmla="*/ 40113 w 46525"/>
                <a:gd name="T9" fmla="*/ 14038 h 25428"/>
                <a:gd name="T10" fmla="*/ 33362 w 46525"/>
                <a:gd name="T11" fmla="*/ 18866 h 25428"/>
                <a:gd name="T12" fmla="*/ 27186 w 46525"/>
                <a:gd name="T13" fmla="*/ 23435 h 25428"/>
                <a:gd name="T14" fmla="*/ 21668 w 46525"/>
                <a:gd name="T15" fmla="*/ 21926 h 25428"/>
                <a:gd name="T16" fmla="*/ 17342 w 46525"/>
                <a:gd name="T17" fmla="*/ 18159 h 25428"/>
                <a:gd name="T18" fmla="*/ 10883 w 46525"/>
                <a:gd name="T19" fmla="*/ 14279 h 25428"/>
                <a:gd name="T20" fmla="*/ 8335 w 46525"/>
                <a:gd name="T21" fmla="*/ 15623 h 25428"/>
                <a:gd name="T22" fmla="*/ 7994 w 46525"/>
                <a:gd name="T23" fmla="*/ 17519 h 25428"/>
                <a:gd name="T24" fmla="*/ 8002 w 46525"/>
                <a:gd name="T25" fmla="*/ 23415 h 25428"/>
                <a:gd name="T26" fmla="*/ 7995 w 46525"/>
                <a:gd name="T27" fmla="*/ 23973 h 25428"/>
                <a:gd name="T28" fmla="*/ 6368 w 46525"/>
                <a:gd name="T29" fmla="*/ 25395 h 25428"/>
                <a:gd name="T30" fmla="*/ 5092 w 46525"/>
                <a:gd name="T31" fmla="*/ 25428 h 25428"/>
                <a:gd name="T32" fmla="*/ 2054 w 46525"/>
                <a:gd name="T33" fmla="*/ 24521 h 25428"/>
                <a:gd name="T34" fmla="*/ 2 w 46525"/>
                <a:gd name="T35" fmla="*/ 21261 h 25428"/>
                <a:gd name="T36" fmla="*/ 3 w 46525"/>
                <a:gd name="T37" fmla="*/ 19732 h 25428"/>
                <a:gd name="T38" fmla="*/ 1172 w 46525"/>
                <a:gd name="T39" fmla="*/ 0 h 25428"/>
                <a:gd name="T40" fmla="*/ 6138 w 46525"/>
                <a:gd name="T41" fmla="*/ 40 h 25428"/>
                <a:gd name="T42" fmla="*/ 10142 w 46525"/>
                <a:gd name="T43" fmla="*/ 1610 h 25428"/>
                <a:gd name="T44" fmla="*/ 11153 w 46525"/>
                <a:gd name="T45" fmla="*/ 2551 h 25428"/>
                <a:gd name="T46" fmla="*/ 15899 w 46525"/>
                <a:gd name="T47" fmla="*/ 7099 h 25428"/>
                <a:gd name="T48" fmla="*/ 17354 w 46525"/>
                <a:gd name="T49" fmla="*/ 8408 h 25428"/>
                <a:gd name="T50" fmla="*/ 31821 w 46525"/>
                <a:gd name="T51" fmla="*/ 10275 h 25428"/>
                <a:gd name="T52" fmla="*/ 31776 w 46525"/>
                <a:gd name="T53" fmla="*/ 10761 h 25428"/>
                <a:gd name="T54" fmla="*/ 20355 w 46525"/>
                <a:gd name="T55" fmla="*/ 11189 h 25428"/>
                <a:gd name="T56" fmla="*/ 15258 w 46525"/>
                <a:gd name="T57" fmla="*/ 7928 h 25428"/>
                <a:gd name="T58" fmla="*/ 11552 w 46525"/>
                <a:gd name="T59" fmla="*/ 4476 h 25428"/>
                <a:gd name="T60" fmla="*/ 9664 w 46525"/>
                <a:gd name="T61" fmla="*/ 2716 h 25428"/>
                <a:gd name="T62" fmla="*/ 5849 w 46525"/>
                <a:gd name="T63" fmla="*/ 1231 h 25428"/>
                <a:gd name="T64" fmla="*/ 1480 w 46525"/>
                <a:gd name="T65" fmla="*/ 1296 h 25428"/>
                <a:gd name="T66" fmla="*/ 1347 w 46525"/>
                <a:gd name="T67" fmla="*/ 1590 h 25428"/>
                <a:gd name="T68" fmla="*/ 1408 w 46525"/>
                <a:gd name="T69" fmla="*/ 21014 h 25428"/>
                <a:gd name="T70" fmla="*/ 3727 w 46525"/>
                <a:gd name="T71" fmla="*/ 23767 h 25428"/>
                <a:gd name="T72" fmla="*/ 5103 w 46525"/>
                <a:gd name="T73" fmla="*/ 23987 h 25428"/>
                <a:gd name="T74" fmla="*/ 6271 w 46525"/>
                <a:gd name="T75" fmla="*/ 23951 h 25428"/>
                <a:gd name="T76" fmla="*/ 6548 w 46525"/>
                <a:gd name="T77" fmla="*/ 23664 h 25428"/>
                <a:gd name="T78" fmla="*/ 6571 w 46525"/>
                <a:gd name="T79" fmla="*/ 16189 h 25428"/>
                <a:gd name="T80" fmla="*/ 10633 w 46525"/>
                <a:gd name="T81" fmla="*/ 12779 h 25428"/>
                <a:gd name="T82" fmla="*/ 15923 w 46525"/>
                <a:gd name="T83" fmla="*/ 14945 h 25428"/>
                <a:gd name="T84" fmla="*/ 19260 w 46525"/>
                <a:gd name="T85" fmla="*/ 17958 h 25428"/>
                <a:gd name="T86" fmla="*/ 25829 w 46525"/>
                <a:gd name="T87" fmla="*/ 22317 h 25428"/>
                <a:gd name="T88" fmla="*/ 31813 w 46525"/>
                <a:gd name="T89" fmla="*/ 18727 h 25428"/>
                <a:gd name="T90" fmla="*/ 35917 w 46525"/>
                <a:gd name="T91" fmla="*/ 15125 h 25428"/>
                <a:gd name="T92" fmla="*/ 43119 w 46525"/>
                <a:gd name="T93" fmla="*/ 13639 h 25428"/>
                <a:gd name="T94" fmla="*/ 44851 w 46525"/>
                <a:gd name="T95" fmla="*/ 20902 h 25428"/>
                <a:gd name="T96" fmla="*/ 45499 w 46525"/>
                <a:gd name="T97" fmla="*/ 22864 h 25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6525" h="25428">
                  <a:moveTo>
                    <a:pt x="46508" y="23834"/>
                  </a:moveTo>
                  <a:cubicBezTo>
                    <a:pt x="46525" y="23872"/>
                    <a:pt x="46476" y="23875"/>
                    <a:pt x="46364" y="23837"/>
                  </a:cubicBezTo>
                  <a:cubicBezTo>
                    <a:pt x="46254" y="23799"/>
                    <a:pt x="46079" y="23720"/>
                    <a:pt x="45856" y="23578"/>
                  </a:cubicBezTo>
                  <a:cubicBezTo>
                    <a:pt x="45634" y="23433"/>
                    <a:pt x="45359" y="23228"/>
                    <a:pt x="45081" y="22916"/>
                  </a:cubicBezTo>
                  <a:cubicBezTo>
                    <a:pt x="44896" y="22707"/>
                    <a:pt x="44709" y="22451"/>
                    <a:pt x="44563" y="22128"/>
                  </a:cubicBezTo>
                  <a:cubicBezTo>
                    <a:pt x="44490" y="21968"/>
                    <a:pt x="44428" y="21791"/>
                    <a:pt x="44385" y="21600"/>
                  </a:cubicBezTo>
                  <a:cubicBezTo>
                    <a:pt x="44364" y="21504"/>
                    <a:pt x="44348" y="21405"/>
                    <a:pt x="44338" y="21302"/>
                  </a:cubicBezTo>
                  <a:cubicBezTo>
                    <a:pt x="44331" y="21252"/>
                    <a:pt x="44330" y="21198"/>
                    <a:pt x="44326" y="21145"/>
                  </a:cubicBezTo>
                  <a:cubicBezTo>
                    <a:pt x="44323" y="21095"/>
                    <a:pt x="44321" y="21044"/>
                    <a:pt x="44320" y="20994"/>
                  </a:cubicBezTo>
                  <a:cubicBezTo>
                    <a:pt x="44296" y="20334"/>
                    <a:pt x="44271" y="19571"/>
                    <a:pt x="44248" y="18713"/>
                  </a:cubicBezTo>
                  <a:cubicBezTo>
                    <a:pt x="44237" y="18282"/>
                    <a:pt x="44226" y="17829"/>
                    <a:pt x="44213" y="17357"/>
                  </a:cubicBezTo>
                  <a:cubicBezTo>
                    <a:pt x="44210" y="17236"/>
                    <a:pt x="44207" y="17115"/>
                    <a:pt x="44204" y="16995"/>
                  </a:cubicBezTo>
                  <a:cubicBezTo>
                    <a:pt x="44202" y="16932"/>
                    <a:pt x="44201" y="16876"/>
                    <a:pt x="44198" y="16820"/>
                  </a:cubicBezTo>
                  <a:cubicBezTo>
                    <a:pt x="44194" y="16762"/>
                    <a:pt x="44190" y="16706"/>
                    <a:pt x="44183" y="16648"/>
                  </a:cubicBezTo>
                  <a:cubicBezTo>
                    <a:pt x="44155" y="16419"/>
                    <a:pt x="44103" y="16189"/>
                    <a:pt x="44022" y="15963"/>
                  </a:cubicBezTo>
                  <a:cubicBezTo>
                    <a:pt x="43862" y="15513"/>
                    <a:pt x="43586" y="15082"/>
                    <a:pt x="43209" y="14732"/>
                  </a:cubicBezTo>
                  <a:cubicBezTo>
                    <a:pt x="42834" y="14380"/>
                    <a:pt x="42356" y="14113"/>
                    <a:pt x="41826" y="13994"/>
                  </a:cubicBezTo>
                  <a:cubicBezTo>
                    <a:pt x="41694" y="13964"/>
                    <a:pt x="41559" y="13944"/>
                    <a:pt x="41422" y="13931"/>
                  </a:cubicBezTo>
                  <a:cubicBezTo>
                    <a:pt x="41283" y="13920"/>
                    <a:pt x="41151" y="13920"/>
                    <a:pt x="41000" y="13928"/>
                  </a:cubicBezTo>
                  <a:cubicBezTo>
                    <a:pt x="40706" y="13940"/>
                    <a:pt x="40409" y="13976"/>
                    <a:pt x="40113" y="14038"/>
                  </a:cubicBezTo>
                  <a:cubicBezTo>
                    <a:pt x="39518" y="14158"/>
                    <a:pt x="38927" y="14382"/>
                    <a:pt x="38351" y="14688"/>
                  </a:cubicBezTo>
                  <a:cubicBezTo>
                    <a:pt x="37776" y="14995"/>
                    <a:pt x="37219" y="15381"/>
                    <a:pt x="36673" y="15821"/>
                  </a:cubicBezTo>
                  <a:cubicBezTo>
                    <a:pt x="36126" y="16259"/>
                    <a:pt x="35593" y="16751"/>
                    <a:pt x="35052" y="17267"/>
                  </a:cubicBezTo>
                  <a:cubicBezTo>
                    <a:pt x="34509" y="17783"/>
                    <a:pt x="33955" y="18333"/>
                    <a:pt x="33362" y="18866"/>
                  </a:cubicBezTo>
                  <a:cubicBezTo>
                    <a:pt x="32783" y="19391"/>
                    <a:pt x="32201" y="19943"/>
                    <a:pt x="31594" y="20500"/>
                  </a:cubicBezTo>
                  <a:cubicBezTo>
                    <a:pt x="30985" y="21057"/>
                    <a:pt x="30351" y="21621"/>
                    <a:pt x="29641" y="22148"/>
                  </a:cubicBezTo>
                  <a:cubicBezTo>
                    <a:pt x="29286" y="22411"/>
                    <a:pt x="28909" y="22662"/>
                    <a:pt x="28503" y="22885"/>
                  </a:cubicBezTo>
                  <a:cubicBezTo>
                    <a:pt x="28095" y="23107"/>
                    <a:pt x="27657" y="23300"/>
                    <a:pt x="27186" y="23435"/>
                  </a:cubicBezTo>
                  <a:cubicBezTo>
                    <a:pt x="26714" y="23570"/>
                    <a:pt x="26211" y="23639"/>
                    <a:pt x="25705" y="23626"/>
                  </a:cubicBezTo>
                  <a:cubicBezTo>
                    <a:pt x="25199" y="23616"/>
                    <a:pt x="24694" y="23520"/>
                    <a:pt x="24218" y="23361"/>
                  </a:cubicBezTo>
                  <a:cubicBezTo>
                    <a:pt x="23741" y="23204"/>
                    <a:pt x="23291" y="22988"/>
                    <a:pt x="22870" y="22741"/>
                  </a:cubicBezTo>
                  <a:cubicBezTo>
                    <a:pt x="22447" y="22494"/>
                    <a:pt x="22050" y="22216"/>
                    <a:pt x="21668" y="21926"/>
                  </a:cubicBezTo>
                  <a:cubicBezTo>
                    <a:pt x="20903" y="21345"/>
                    <a:pt x="20195" y="20711"/>
                    <a:pt x="19488" y="20080"/>
                  </a:cubicBezTo>
                  <a:cubicBezTo>
                    <a:pt x="19136" y="19764"/>
                    <a:pt x="18782" y="19449"/>
                    <a:pt x="18427" y="19131"/>
                  </a:cubicBezTo>
                  <a:cubicBezTo>
                    <a:pt x="18246" y="18973"/>
                    <a:pt x="18065" y="18812"/>
                    <a:pt x="17884" y="18654"/>
                  </a:cubicBezTo>
                  <a:cubicBezTo>
                    <a:pt x="17700" y="18489"/>
                    <a:pt x="17520" y="18325"/>
                    <a:pt x="17342" y="18159"/>
                  </a:cubicBezTo>
                  <a:cubicBezTo>
                    <a:pt x="16627" y="17500"/>
                    <a:pt x="15928" y="16836"/>
                    <a:pt x="15190" y="16239"/>
                  </a:cubicBezTo>
                  <a:cubicBezTo>
                    <a:pt x="14453" y="15644"/>
                    <a:pt x="13673" y="15112"/>
                    <a:pt x="12836" y="14752"/>
                  </a:cubicBezTo>
                  <a:cubicBezTo>
                    <a:pt x="12418" y="14571"/>
                    <a:pt x="11987" y="14436"/>
                    <a:pt x="11547" y="14357"/>
                  </a:cubicBezTo>
                  <a:cubicBezTo>
                    <a:pt x="11328" y="14317"/>
                    <a:pt x="11106" y="14290"/>
                    <a:pt x="10883" y="14279"/>
                  </a:cubicBezTo>
                  <a:cubicBezTo>
                    <a:pt x="10774" y="14272"/>
                    <a:pt x="10655" y="14270"/>
                    <a:pt x="10553" y="14272"/>
                  </a:cubicBezTo>
                  <a:cubicBezTo>
                    <a:pt x="10454" y="14276"/>
                    <a:pt x="10355" y="14283"/>
                    <a:pt x="10257" y="14295"/>
                  </a:cubicBezTo>
                  <a:cubicBezTo>
                    <a:pt x="9863" y="14351"/>
                    <a:pt x="9482" y="14501"/>
                    <a:pt x="9150" y="14730"/>
                  </a:cubicBezTo>
                  <a:cubicBezTo>
                    <a:pt x="8818" y="14961"/>
                    <a:pt x="8536" y="15269"/>
                    <a:pt x="8335" y="15623"/>
                  </a:cubicBezTo>
                  <a:cubicBezTo>
                    <a:pt x="8135" y="15978"/>
                    <a:pt x="8018" y="16376"/>
                    <a:pt x="7997" y="16782"/>
                  </a:cubicBezTo>
                  <a:cubicBezTo>
                    <a:pt x="7994" y="16834"/>
                    <a:pt x="7993" y="16883"/>
                    <a:pt x="7993" y="16935"/>
                  </a:cubicBezTo>
                  <a:cubicBezTo>
                    <a:pt x="7993" y="17130"/>
                    <a:pt x="7993" y="17130"/>
                    <a:pt x="7993" y="17130"/>
                  </a:cubicBezTo>
                  <a:cubicBezTo>
                    <a:pt x="7994" y="17519"/>
                    <a:pt x="7994" y="17519"/>
                    <a:pt x="7994" y="17519"/>
                  </a:cubicBezTo>
                  <a:cubicBezTo>
                    <a:pt x="7995" y="17779"/>
                    <a:pt x="7995" y="18040"/>
                    <a:pt x="7995" y="18300"/>
                  </a:cubicBezTo>
                  <a:cubicBezTo>
                    <a:pt x="7998" y="19342"/>
                    <a:pt x="7999" y="20388"/>
                    <a:pt x="8001" y="21439"/>
                  </a:cubicBezTo>
                  <a:cubicBezTo>
                    <a:pt x="8001" y="21966"/>
                    <a:pt x="8002" y="22492"/>
                    <a:pt x="8002" y="23019"/>
                  </a:cubicBezTo>
                  <a:cubicBezTo>
                    <a:pt x="8002" y="23415"/>
                    <a:pt x="8002" y="23415"/>
                    <a:pt x="8002" y="23415"/>
                  </a:cubicBezTo>
                  <a:cubicBezTo>
                    <a:pt x="8002" y="23515"/>
                    <a:pt x="8002" y="23515"/>
                    <a:pt x="8002" y="23515"/>
                  </a:cubicBezTo>
                  <a:cubicBezTo>
                    <a:pt x="8002" y="23563"/>
                    <a:pt x="8002" y="23563"/>
                    <a:pt x="8002" y="23563"/>
                  </a:cubicBezTo>
                  <a:cubicBezTo>
                    <a:pt x="8001" y="23646"/>
                    <a:pt x="8001" y="23646"/>
                    <a:pt x="8001" y="23646"/>
                  </a:cubicBezTo>
                  <a:cubicBezTo>
                    <a:pt x="7995" y="23973"/>
                    <a:pt x="7995" y="23973"/>
                    <a:pt x="7995" y="23973"/>
                  </a:cubicBezTo>
                  <a:cubicBezTo>
                    <a:pt x="7990" y="24079"/>
                    <a:pt x="7997" y="24193"/>
                    <a:pt x="7979" y="24293"/>
                  </a:cubicBezTo>
                  <a:cubicBezTo>
                    <a:pt x="7964" y="24396"/>
                    <a:pt x="7940" y="24494"/>
                    <a:pt x="7908" y="24587"/>
                  </a:cubicBezTo>
                  <a:cubicBezTo>
                    <a:pt x="7844" y="24771"/>
                    <a:pt x="7726" y="24950"/>
                    <a:pt x="7563" y="25074"/>
                  </a:cubicBezTo>
                  <a:cubicBezTo>
                    <a:pt x="7252" y="25318"/>
                    <a:pt x="6804" y="25365"/>
                    <a:pt x="6368" y="25395"/>
                  </a:cubicBezTo>
                  <a:cubicBezTo>
                    <a:pt x="6120" y="25410"/>
                    <a:pt x="6120" y="25410"/>
                    <a:pt x="6120" y="25410"/>
                  </a:cubicBezTo>
                  <a:cubicBezTo>
                    <a:pt x="5911" y="25417"/>
                    <a:pt x="5911" y="25417"/>
                    <a:pt x="5911" y="25417"/>
                  </a:cubicBezTo>
                  <a:cubicBezTo>
                    <a:pt x="5773" y="25422"/>
                    <a:pt x="5636" y="25424"/>
                    <a:pt x="5499" y="25426"/>
                  </a:cubicBezTo>
                  <a:cubicBezTo>
                    <a:pt x="5092" y="25428"/>
                    <a:pt x="5092" y="25428"/>
                    <a:pt x="5092" y="25428"/>
                  </a:cubicBezTo>
                  <a:cubicBezTo>
                    <a:pt x="4881" y="25426"/>
                    <a:pt x="4881" y="25426"/>
                    <a:pt x="4881" y="25426"/>
                  </a:cubicBezTo>
                  <a:cubicBezTo>
                    <a:pt x="4802" y="25426"/>
                    <a:pt x="4722" y="25422"/>
                    <a:pt x="4644" y="25417"/>
                  </a:cubicBezTo>
                  <a:cubicBezTo>
                    <a:pt x="4329" y="25395"/>
                    <a:pt x="4021" y="25341"/>
                    <a:pt x="3723" y="25264"/>
                  </a:cubicBezTo>
                  <a:cubicBezTo>
                    <a:pt x="3127" y="25108"/>
                    <a:pt x="2567" y="24856"/>
                    <a:pt x="2054" y="24521"/>
                  </a:cubicBezTo>
                  <a:cubicBezTo>
                    <a:pt x="1543" y="24185"/>
                    <a:pt x="1074" y="23765"/>
                    <a:pt x="700" y="23242"/>
                  </a:cubicBezTo>
                  <a:cubicBezTo>
                    <a:pt x="514" y="22981"/>
                    <a:pt x="353" y="22692"/>
                    <a:pt x="232" y="22380"/>
                  </a:cubicBezTo>
                  <a:cubicBezTo>
                    <a:pt x="111" y="22069"/>
                    <a:pt x="32" y="21733"/>
                    <a:pt x="8" y="21391"/>
                  </a:cubicBezTo>
                  <a:cubicBezTo>
                    <a:pt x="2" y="21261"/>
                    <a:pt x="2" y="21261"/>
                    <a:pt x="2" y="21261"/>
                  </a:cubicBezTo>
                  <a:cubicBezTo>
                    <a:pt x="0" y="21138"/>
                    <a:pt x="0" y="21138"/>
                    <a:pt x="0" y="21138"/>
                  </a:cubicBezTo>
                  <a:cubicBezTo>
                    <a:pt x="0" y="20938"/>
                    <a:pt x="0" y="20938"/>
                    <a:pt x="0" y="20938"/>
                  </a:cubicBezTo>
                  <a:cubicBezTo>
                    <a:pt x="2" y="20536"/>
                    <a:pt x="2" y="20536"/>
                    <a:pt x="2" y="20536"/>
                  </a:cubicBezTo>
                  <a:cubicBezTo>
                    <a:pt x="3" y="19732"/>
                    <a:pt x="3" y="19732"/>
                    <a:pt x="3" y="19732"/>
                  </a:cubicBezTo>
                  <a:cubicBezTo>
                    <a:pt x="14" y="15444"/>
                    <a:pt x="33" y="11144"/>
                    <a:pt x="61" y="6888"/>
                  </a:cubicBezTo>
                  <a:cubicBezTo>
                    <a:pt x="72" y="4925"/>
                    <a:pt x="93" y="1784"/>
                    <a:pt x="93" y="1070"/>
                  </a:cubicBezTo>
                  <a:cubicBezTo>
                    <a:pt x="93" y="923"/>
                    <a:pt x="113" y="802"/>
                    <a:pt x="138" y="685"/>
                  </a:cubicBezTo>
                  <a:cubicBezTo>
                    <a:pt x="211" y="404"/>
                    <a:pt x="441" y="0"/>
                    <a:pt x="1172" y="0"/>
                  </a:cubicBezTo>
                  <a:cubicBezTo>
                    <a:pt x="1336" y="0"/>
                    <a:pt x="1526" y="1"/>
                    <a:pt x="1713" y="1"/>
                  </a:cubicBezTo>
                  <a:cubicBezTo>
                    <a:pt x="2509" y="5"/>
                    <a:pt x="3619" y="15"/>
                    <a:pt x="4482" y="21"/>
                  </a:cubicBezTo>
                  <a:cubicBezTo>
                    <a:pt x="4972" y="25"/>
                    <a:pt x="5456" y="28"/>
                    <a:pt x="5937" y="32"/>
                  </a:cubicBezTo>
                  <a:cubicBezTo>
                    <a:pt x="6009" y="33"/>
                    <a:pt x="6073" y="37"/>
                    <a:pt x="6138" y="40"/>
                  </a:cubicBezTo>
                  <a:cubicBezTo>
                    <a:pt x="6203" y="44"/>
                    <a:pt x="6268" y="48"/>
                    <a:pt x="6333" y="54"/>
                  </a:cubicBezTo>
                  <a:cubicBezTo>
                    <a:pt x="6462" y="66"/>
                    <a:pt x="6591" y="80"/>
                    <a:pt x="6720" y="98"/>
                  </a:cubicBezTo>
                  <a:cubicBezTo>
                    <a:pt x="6976" y="135"/>
                    <a:pt x="7229" y="186"/>
                    <a:pt x="7478" y="250"/>
                  </a:cubicBezTo>
                  <a:cubicBezTo>
                    <a:pt x="8474" y="507"/>
                    <a:pt x="9385" y="984"/>
                    <a:pt x="10142" y="1610"/>
                  </a:cubicBezTo>
                  <a:cubicBezTo>
                    <a:pt x="10237" y="1688"/>
                    <a:pt x="10328" y="1768"/>
                    <a:pt x="10420" y="1852"/>
                  </a:cubicBezTo>
                  <a:cubicBezTo>
                    <a:pt x="10550" y="1974"/>
                    <a:pt x="10550" y="1974"/>
                    <a:pt x="10550" y="1974"/>
                  </a:cubicBezTo>
                  <a:cubicBezTo>
                    <a:pt x="10671" y="2090"/>
                    <a:pt x="10671" y="2090"/>
                    <a:pt x="10671" y="2090"/>
                  </a:cubicBezTo>
                  <a:cubicBezTo>
                    <a:pt x="10832" y="2245"/>
                    <a:pt x="10994" y="2398"/>
                    <a:pt x="11153" y="2551"/>
                  </a:cubicBezTo>
                  <a:cubicBezTo>
                    <a:pt x="11473" y="2857"/>
                    <a:pt x="11790" y="3160"/>
                    <a:pt x="12103" y="3460"/>
                  </a:cubicBezTo>
                  <a:cubicBezTo>
                    <a:pt x="12728" y="4059"/>
                    <a:pt x="13340" y="4645"/>
                    <a:pt x="13938" y="5217"/>
                  </a:cubicBezTo>
                  <a:cubicBezTo>
                    <a:pt x="14535" y="5789"/>
                    <a:pt x="15118" y="6349"/>
                    <a:pt x="15687" y="6895"/>
                  </a:cubicBezTo>
                  <a:cubicBezTo>
                    <a:pt x="15758" y="6962"/>
                    <a:pt x="15828" y="7031"/>
                    <a:pt x="15899" y="7099"/>
                  </a:cubicBezTo>
                  <a:cubicBezTo>
                    <a:pt x="16005" y="7200"/>
                    <a:pt x="16005" y="7200"/>
                    <a:pt x="16005" y="7200"/>
                  </a:cubicBezTo>
                  <a:cubicBezTo>
                    <a:pt x="16056" y="7250"/>
                    <a:pt x="16080" y="7275"/>
                    <a:pt x="16115" y="7310"/>
                  </a:cubicBezTo>
                  <a:cubicBezTo>
                    <a:pt x="16247" y="7444"/>
                    <a:pt x="16382" y="7573"/>
                    <a:pt x="16518" y="7699"/>
                  </a:cubicBezTo>
                  <a:cubicBezTo>
                    <a:pt x="16791" y="7950"/>
                    <a:pt x="17069" y="8187"/>
                    <a:pt x="17354" y="8408"/>
                  </a:cubicBezTo>
                  <a:cubicBezTo>
                    <a:pt x="18492" y="9297"/>
                    <a:pt x="19712" y="9948"/>
                    <a:pt x="20914" y="10403"/>
                  </a:cubicBezTo>
                  <a:cubicBezTo>
                    <a:pt x="22117" y="10855"/>
                    <a:pt x="23303" y="11115"/>
                    <a:pt x="24413" y="11240"/>
                  </a:cubicBezTo>
                  <a:cubicBezTo>
                    <a:pt x="25523" y="11365"/>
                    <a:pt x="26559" y="11363"/>
                    <a:pt x="27492" y="11284"/>
                  </a:cubicBezTo>
                  <a:cubicBezTo>
                    <a:pt x="29363" y="11127"/>
                    <a:pt x="30811" y="10669"/>
                    <a:pt x="31821" y="10275"/>
                  </a:cubicBezTo>
                  <a:cubicBezTo>
                    <a:pt x="32482" y="10020"/>
                    <a:pt x="32949" y="9799"/>
                    <a:pt x="33252" y="9663"/>
                  </a:cubicBezTo>
                  <a:cubicBezTo>
                    <a:pt x="33555" y="9526"/>
                    <a:pt x="33699" y="9474"/>
                    <a:pt x="33698" y="9519"/>
                  </a:cubicBezTo>
                  <a:cubicBezTo>
                    <a:pt x="33694" y="9562"/>
                    <a:pt x="33543" y="9703"/>
                    <a:pt x="33234" y="9920"/>
                  </a:cubicBezTo>
                  <a:cubicBezTo>
                    <a:pt x="32926" y="10137"/>
                    <a:pt x="32457" y="10434"/>
                    <a:pt x="31776" y="10761"/>
                  </a:cubicBezTo>
                  <a:cubicBezTo>
                    <a:pt x="31610" y="10855"/>
                    <a:pt x="31233" y="11043"/>
                    <a:pt x="30648" y="11259"/>
                  </a:cubicBezTo>
                  <a:cubicBezTo>
                    <a:pt x="30063" y="11475"/>
                    <a:pt x="29266" y="11719"/>
                    <a:pt x="28270" y="11894"/>
                  </a:cubicBezTo>
                  <a:cubicBezTo>
                    <a:pt x="27276" y="12069"/>
                    <a:pt x="26083" y="12171"/>
                    <a:pt x="24737" y="12098"/>
                  </a:cubicBezTo>
                  <a:cubicBezTo>
                    <a:pt x="23394" y="12022"/>
                    <a:pt x="21893" y="11762"/>
                    <a:pt x="20355" y="11189"/>
                  </a:cubicBezTo>
                  <a:cubicBezTo>
                    <a:pt x="18655" y="10556"/>
                    <a:pt x="17026" y="9579"/>
                    <a:pt x="15632" y="8284"/>
                  </a:cubicBezTo>
                  <a:cubicBezTo>
                    <a:pt x="15545" y="8203"/>
                    <a:pt x="15459" y="8121"/>
                    <a:pt x="15373" y="8037"/>
                  </a:cubicBezTo>
                  <a:cubicBezTo>
                    <a:pt x="15310" y="7975"/>
                    <a:pt x="15310" y="7975"/>
                    <a:pt x="15310" y="7975"/>
                  </a:cubicBezTo>
                  <a:cubicBezTo>
                    <a:pt x="15258" y="7928"/>
                    <a:pt x="15258" y="7928"/>
                    <a:pt x="15258" y="7928"/>
                  </a:cubicBezTo>
                  <a:cubicBezTo>
                    <a:pt x="15133" y="7811"/>
                    <a:pt x="15133" y="7811"/>
                    <a:pt x="15133" y="7811"/>
                  </a:cubicBezTo>
                  <a:cubicBezTo>
                    <a:pt x="14965" y="7655"/>
                    <a:pt x="14797" y="7498"/>
                    <a:pt x="14628" y="7341"/>
                  </a:cubicBezTo>
                  <a:cubicBezTo>
                    <a:pt x="14290" y="7026"/>
                    <a:pt x="13951" y="6711"/>
                    <a:pt x="13611" y="6393"/>
                  </a:cubicBezTo>
                  <a:cubicBezTo>
                    <a:pt x="12930" y="5760"/>
                    <a:pt x="12244" y="5120"/>
                    <a:pt x="11552" y="4476"/>
                  </a:cubicBezTo>
                  <a:cubicBezTo>
                    <a:pt x="11206" y="4153"/>
                    <a:pt x="10859" y="3829"/>
                    <a:pt x="10511" y="3505"/>
                  </a:cubicBezTo>
                  <a:cubicBezTo>
                    <a:pt x="10337" y="3343"/>
                    <a:pt x="10163" y="3179"/>
                    <a:pt x="9988" y="3016"/>
                  </a:cubicBezTo>
                  <a:cubicBezTo>
                    <a:pt x="9726" y="2773"/>
                    <a:pt x="9726" y="2773"/>
                    <a:pt x="9726" y="2773"/>
                  </a:cubicBezTo>
                  <a:cubicBezTo>
                    <a:pt x="9664" y="2716"/>
                    <a:pt x="9664" y="2716"/>
                    <a:pt x="9664" y="2716"/>
                  </a:cubicBezTo>
                  <a:cubicBezTo>
                    <a:pt x="9605" y="2664"/>
                    <a:pt x="9605" y="2664"/>
                    <a:pt x="9605" y="2664"/>
                  </a:cubicBezTo>
                  <a:cubicBezTo>
                    <a:pt x="9481" y="2558"/>
                    <a:pt x="9481" y="2558"/>
                    <a:pt x="9481" y="2558"/>
                  </a:cubicBezTo>
                  <a:cubicBezTo>
                    <a:pt x="8812" y="2003"/>
                    <a:pt x="8011" y="1596"/>
                    <a:pt x="7158" y="1391"/>
                  </a:cubicBezTo>
                  <a:cubicBezTo>
                    <a:pt x="6731" y="1288"/>
                    <a:pt x="6290" y="1232"/>
                    <a:pt x="5849" y="1231"/>
                  </a:cubicBezTo>
                  <a:cubicBezTo>
                    <a:pt x="5362" y="1232"/>
                    <a:pt x="4873" y="1234"/>
                    <a:pt x="4383" y="1236"/>
                  </a:cubicBezTo>
                  <a:cubicBezTo>
                    <a:pt x="3489" y="1238"/>
                    <a:pt x="1921" y="1245"/>
                    <a:pt x="1688" y="1245"/>
                  </a:cubicBezTo>
                  <a:cubicBezTo>
                    <a:pt x="1615" y="1245"/>
                    <a:pt x="1559" y="1258"/>
                    <a:pt x="1510" y="1279"/>
                  </a:cubicBezTo>
                  <a:cubicBezTo>
                    <a:pt x="1498" y="1284"/>
                    <a:pt x="1490" y="1290"/>
                    <a:pt x="1480" y="1296"/>
                  </a:cubicBezTo>
                  <a:cubicBezTo>
                    <a:pt x="1453" y="1312"/>
                    <a:pt x="1430" y="1332"/>
                    <a:pt x="1411" y="1357"/>
                  </a:cubicBezTo>
                  <a:cubicBezTo>
                    <a:pt x="1399" y="1373"/>
                    <a:pt x="1389" y="1389"/>
                    <a:pt x="1382" y="1407"/>
                  </a:cubicBezTo>
                  <a:cubicBezTo>
                    <a:pt x="1375" y="1422"/>
                    <a:pt x="1369" y="1438"/>
                    <a:pt x="1364" y="1456"/>
                  </a:cubicBezTo>
                  <a:cubicBezTo>
                    <a:pt x="1352" y="1504"/>
                    <a:pt x="1347" y="1552"/>
                    <a:pt x="1347" y="1590"/>
                  </a:cubicBezTo>
                  <a:cubicBezTo>
                    <a:pt x="1347" y="1839"/>
                    <a:pt x="1383" y="13232"/>
                    <a:pt x="1401" y="19072"/>
                  </a:cubicBezTo>
                  <a:cubicBezTo>
                    <a:pt x="1402" y="19441"/>
                    <a:pt x="1403" y="19813"/>
                    <a:pt x="1405" y="20182"/>
                  </a:cubicBezTo>
                  <a:cubicBezTo>
                    <a:pt x="1407" y="20736"/>
                    <a:pt x="1407" y="20736"/>
                    <a:pt x="1407" y="20736"/>
                  </a:cubicBezTo>
                  <a:cubicBezTo>
                    <a:pt x="1408" y="21014"/>
                    <a:pt x="1408" y="21014"/>
                    <a:pt x="1408" y="21014"/>
                  </a:cubicBezTo>
                  <a:cubicBezTo>
                    <a:pt x="1408" y="21153"/>
                    <a:pt x="1408" y="21153"/>
                    <a:pt x="1408" y="21153"/>
                  </a:cubicBezTo>
                  <a:cubicBezTo>
                    <a:pt x="1409" y="21189"/>
                    <a:pt x="1409" y="21219"/>
                    <a:pt x="1412" y="21255"/>
                  </a:cubicBezTo>
                  <a:cubicBezTo>
                    <a:pt x="1439" y="21791"/>
                    <a:pt x="1721" y="22330"/>
                    <a:pt x="2150" y="22770"/>
                  </a:cubicBezTo>
                  <a:cubicBezTo>
                    <a:pt x="2577" y="23210"/>
                    <a:pt x="3136" y="23556"/>
                    <a:pt x="3727" y="23767"/>
                  </a:cubicBezTo>
                  <a:cubicBezTo>
                    <a:pt x="4023" y="23872"/>
                    <a:pt x="4328" y="23944"/>
                    <a:pt x="4629" y="23973"/>
                  </a:cubicBezTo>
                  <a:cubicBezTo>
                    <a:pt x="4703" y="23980"/>
                    <a:pt x="4778" y="23985"/>
                    <a:pt x="4852" y="23987"/>
                  </a:cubicBezTo>
                  <a:cubicBezTo>
                    <a:pt x="4891" y="23987"/>
                    <a:pt x="4922" y="23987"/>
                    <a:pt x="4967" y="23987"/>
                  </a:cubicBezTo>
                  <a:cubicBezTo>
                    <a:pt x="5103" y="23987"/>
                    <a:pt x="5103" y="23987"/>
                    <a:pt x="5103" y="23987"/>
                  </a:cubicBezTo>
                  <a:cubicBezTo>
                    <a:pt x="5283" y="23987"/>
                    <a:pt x="5461" y="23983"/>
                    <a:pt x="5638" y="23980"/>
                  </a:cubicBezTo>
                  <a:cubicBezTo>
                    <a:pt x="5814" y="23976"/>
                    <a:pt x="5988" y="23969"/>
                    <a:pt x="6158" y="23960"/>
                  </a:cubicBezTo>
                  <a:cubicBezTo>
                    <a:pt x="6222" y="23954"/>
                    <a:pt x="6222" y="23954"/>
                    <a:pt x="6222" y="23954"/>
                  </a:cubicBezTo>
                  <a:cubicBezTo>
                    <a:pt x="6271" y="23951"/>
                    <a:pt x="6271" y="23951"/>
                    <a:pt x="6271" y="23951"/>
                  </a:cubicBezTo>
                  <a:cubicBezTo>
                    <a:pt x="6303" y="23947"/>
                    <a:pt x="6334" y="23944"/>
                    <a:pt x="6366" y="23938"/>
                  </a:cubicBezTo>
                  <a:cubicBezTo>
                    <a:pt x="6397" y="23933"/>
                    <a:pt x="6428" y="23928"/>
                    <a:pt x="6458" y="23917"/>
                  </a:cubicBezTo>
                  <a:cubicBezTo>
                    <a:pt x="6488" y="23904"/>
                    <a:pt x="6513" y="23881"/>
                    <a:pt x="6527" y="23854"/>
                  </a:cubicBezTo>
                  <a:cubicBezTo>
                    <a:pt x="6556" y="23794"/>
                    <a:pt x="6548" y="23727"/>
                    <a:pt x="6548" y="23664"/>
                  </a:cubicBezTo>
                  <a:cubicBezTo>
                    <a:pt x="6545" y="23002"/>
                    <a:pt x="6541" y="22344"/>
                    <a:pt x="6537" y="21686"/>
                  </a:cubicBezTo>
                  <a:cubicBezTo>
                    <a:pt x="6528" y="20247"/>
                    <a:pt x="6520" y="18819"/>
                    <a:pt x="6511" y="17404"/>
                  </a:cubicBezTo>
                  <a:cubicBezTo>
                    <a:pt x="6510" y="17218"/>
                    <a:pt x="6509" y="17034"/>
                    <a:pt x="6508" y="16849"/>
                  </a:cubicBezTo>
                  <a:cubicBezTo>
                    <a:pt x="6511" y="16629"/>
                    <a:pt x="6533" y="16407"/>
                    <a:pt x="6571" y="16189"/>
                  </a:cubicBezTo>
                  <a:cubicBezTo>
                    <a:pt x="6649" y="15752"/>
                    <a:pt x="6799" y="15325"/>
                    <a:pt x="7014" y="14932"/>
                  </a:cubicBezTo>
                  <a:cubicBezTo>
                    <a:pt x="7441" y="14148"/>
                    <a:pt x="8130" y="13500"/>
                    <a:pt x="8964" y="13129"/>
                  </a:cubicBezTo>
                  <a:cubicBezTo>
                    <a:pt x="9381" y="12943"/>
                    <a:pt x="9833" y="12826"/>
                    <a:pt x="10292" y="12792"/>
                  </a:cubicBezTo>
                  <a:cubicBezTo>
                    <a:pt x="10405" y="12783"/>
                    <a:pt x="10526" y="12779"/>
                    <a:pt x="10633" y="12779"/>
                  </a:cubicBezTo>
                  <a:cubicBezTo>
                    <a:pt x="10738" y="12781"/>
                    <a:pt x="10843" y="12783"/>
                    <a:pt x="10948" y="12788"/>
                  </a:cubicBezTo>
                  <a:cubicBezTo>
                    <a:pt x="11158" y="12799"/>
                    <a:pt x="11367" y="12821"/>
                    <a:pt x="11575" y="12851"/>
                  </a:cubicBezTo>
                  <a:cubicBezTo>
                    <a:pt x="12409" y="12972"/>
                    <a:pt x="13207" y="13255"/>
                    <a:pt x="13931" y="13628"/>
                  </a:cubicBezTo>
                  <a:cubicBezTo>
                    <a:pt x="14656" y="14002"/>
                    <a:pt x="15313" y="14460"/>
                    <a:pt x="15923" y="14945"/>
                  </a:cubicBezTo>
                  <a:cubicBezTo>
                    <a:pt x="16534" y="15431"/>
                    <a:pt x="17099" y="15949"/>
                    <a:pt x="17646" y="16461"/>
                  </a:cubicBezTo>
                  <a:cubicBezTo>
                    <a:pt x="17916" y="16715"/>
                    <a:pt x="18185" y="16969"/>
                    <a:pt x="18455" y="17222"/>
                  </a:cubicBezTo>
                  <a:cubicBezTo>
                    <a:pt x="18854" y="17591"/>
                    <a:pt x="18854" y="17591"/>
                    <a:pt x="18854" y="17591"/>
                  </a:cubicBezTo>
                  <a:cubicBezTo>
                    <a:pt x="18989" y="17714"/>
                    <a:pt x="19125" y="17837"/>
                    <a:pt x="19260" y="17958"/>
                  </a:cubicBezTo>
                  <a:cubicBezTo>
                    <a:pt x="19815" y="18455"/>
                    <a:pt x="20354" y="18956"/>
                    <a:pt x="20887" y="19441"/>
                  </a:cubicBezTo>
                  <a:cubicBezTo>
                    <a:pt x="21420" y="19926"/>
                    <a:pt x="21949" y="20397"/>
                    <a:pt x="22486" y="20819"/>
                  </a:cubicBezTo>
                  <a:cubicBezTo>
                    <a:pt x="23023" y="21239"/>
                    <a:pt x="23571" y="21614"/>
                    <a:pt x="24131" y="21883"/>
                  </a:cubicBezTo>
                  <a:cubicBezTo>
                    <a:pt x="24692" y="22151"/>
                    <a:pt x="25262" y="22308"/>
                    <a:pt x="25829" y="22317"/>
                  </a:cubicBezTo>
                  <a:cubicBezTo>
                    <a:pt x="26396" y="22330"/>
                    <a:pt x="26958" y="22198"/>
                    <a:pt x="27497" y="21966"/>
                  </a:cubicBezTo>
                  <a:cubicBezTo>
                    <a:pt x="28038" y="21733"/>
                    <a:pt x="28553" y="21409"/>
                    <a:pt x="29047" y="21052"/>
                  </a:cubicBezTo>
                  <a:cubicBezTo>
                    <a:pt x="29540" y="20695"/>
                    <a:pt x="30011" y="20303"/>
                    <a:pt x="30470" y="19910"/>
                  </a:cubicBezTo>
                  <a:cubicBezTo>
                    <a:pt x="30928" y="19515"/>
                    <a:pt x="31373" y="19117"/>
                    <a:pt x="31813" y="18727"/>
                  </a:cubicBezTo>
                  <a:cubicBezTo>
                    <a:pt x="32033" y="18535"/>
                    <a:pt x="32252" y="18343"/>
                    <a:pt x="32467" y="18154"/>
                  </a:cubicBezTo>
                  <a:cubicBezTo>
                    <a:pt x="32575" y="18060"/>
                    <a:pt x="32683" y="17968"/>
                    <a:pt x="32789" y="17876"/>
                  </a:cubicBezTo>
                  <a:cubicBezTo>
                    <a:pt x="32892" y="17784"/>
                    <a:pt x="32994" y="17696"/>
                    <a:pt x="33095" y="17606"/>
                  </a:cubicBezTo>
                  <a:cubicBezTo>
                    <a:pt x="34015" y="16784"/>
                    <a:pt x="34917" y="15904"/>
                    <a:pt x="35917" y="15125"/>
                  </a:cubicBezTo>
                  <a:cubicBezTo>
                    <a:pt x="36417" y="14735"/>
                    <a:pt x="36941" y="14371"/>
                    <a:pt x="37500" y="14056"/>
                  </a:cubicBezTo>
                  <a:cubicBezTo>
                    <a:pt x="38058" y="13742"/>
                    <a:pt x="38653" y="13479"/>
                    <a:pt x="39276" y="13302"/>
                  </a:cubicBezTo>
                  <a:cubicBezTo>
                    <a:pt x="39900" y="13123"/>
                    <a:pt x="40546" y="13035"/>
                    <a:pt x="41196" y="13049"/>
                  </a:cubicBezTo>
                  <a:cubicBezTo>
                    <a:pt x="41882" y="13066"/>
                    <a:pt x="42554" y="13279"/>
                    <a:pt x="43119" y="13639"/>
                  </a:cubicBezTo>
                  <a:cubicBezTo>
                    <a:pt x="43685" y="13998"/>
                    <a:pt x="44146" y="14501"/>
                    <a:pt x="44458" y="15078"/>
                  </a:cubicBezTo>
                  <a:cubicBezTo>
                    <a:pt x="44772" y="15655"/>
                    <a:pt x="44929" y="16315"/>
                    <a:pt x="44919" y="16953"/>
                  </a:cubicBezTo>
                  <a:cubicBezTo>
                    <a:pt x="44904" y="17929"/>
                    <a:pt x="44888" y="18839"/>
                    <a:pt x="44875" y="19688"/>
                  </a:cubicBezTo>
                  <a:cubicBezTo>
                    <a:pt x="44866" y="20109"/>
                    <a:pt x="44859" y="20512"/>
                    <a:pt x="44851" y="20902"/>
                  </a:cubicBezTo>
                  <a:cubicBezTo>
                    <a:pt x="44850" y="20997"/>
                    <a:pt x="44848" y="21093"/>
                    <a:pt x="44846" y="21185"/>
                  </a:cubicBezTo>
                  <a:cubicBezTo>
                    <a:pt x="44844" y="21264"/>
                    <a:pt x="44848" y="21344"/>
                    <a:pt x="44856" y="21421"/>
                  </a:cubicBezTo>
                  <a:cubicBezTo>
                    <a:pt x="44871" y="21578"/>
                    <a:pt x="44905" y="21730"/>
                    <a:pt x="44952" y="21876"/>
                  </a:cubicBezTo>
                  <a:cubicBezTo>
                    <a:pt x="45063" y="22240"/>
                    <a:pt x="45263" y="22575"/>
                    <a:pt x="45499" y="22864"/>
                  </a:cubicBezTo>
                  <a:cubicBezTo>
                    <a:pt x="45735" y="23152"/>
                    <a:pt x="46005" y="23397"/>
                    <a:pt x="46280" y="23599"/>
                  </a:cubicBezTo>
                  <a:cubicBezTo>
                    <a:pt x="46414" y="23718"/>
                    <a:pt x="46493" y="23794"/>
                    <a:pt x="46508" y="23834"/>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4"/>
            <p:cNvSpPr>
              <a:spLocks/>
            </p:cNvSpPr>
            <p:nvPr userDrawn="1"/>
          </p:nvSpPr>
          <p:spPr bwMode="auto">
            <a:xfrm>
              <a:off x="-83369150" y="20088225"/>
              <a:ext cx="138082338" cy="94243525"/>
            </a:xfrm>
            <a:custGeom>
              <a:avLst/>
              <a:gdLst>
                <a:gd name="T0" fmla="*/ 33157 w 36820"/>
                <a:gd name="T1" fmla="*/ 17610 h 25129"/>
                <a:gd name="T2" fmla="*/ 31301 w 36820"/>
                <a:gd name="T3" fmla="*/ 19236 h 25129"/>
                <a:gd name="T4" fmla="*/ 25100 w 36820"/>
                <a:gd name="T5" fmla="*/ 22390 h 25129"/>
                <a:gd name="T6" fmla="*/ 19131 w 36820"/>
                <a:gd name="T7" fmla="*/ 18160 h 25129"/>
                <a:gd name="T8" fmla="*/ 16791 w 36820"/>
                <a:gd name="T9" fmla="*/ 15971 h 25129"/>
                <a:gd name="T10" fmla="*/ 10465 w 36820"/>
                <a:gd name="T11" fmla="*/ 12817 h 25129"/>
                <a:gd name="T12" fmla="*/ 6482 w 36820"/>
                <a:gd name="T13" fmla="*/ 16811 h 25129"/>
                <a:gd name="T14" fmla="*/ 6497 w 36820"/>
                <a:gd name="T15" fmla="*/ 23614 h 25129"/>
                <a:gd name="T16" fmla="*/ 6308 w 36820"/>
                <a:gd name="T17" fmla="*/ 23899 h 25129"/>
                <a:gd name="T18" fmla="*/ 5806 w 36820"/>
                <a:gd name="T19" fmla="*/ 23944 h 25129"/>
                <a:gd name="T20" fmla="*/ 4640 w 36820"/>
                <a:gd name="T21" fmla="*/ 23962 h 25129"/>
                <a:gd name="T22" fmla="*/ 1800 w 36820"/>
                <a:gd name="T23" fmla="*/ 22601 h 25129"/>
                <a:gd name="T24" fmla="*/ 1131 w 36820"/>
                <a:gd name="T25" fmla="*/ 21000 h 25129"/>
                <a:gd name="T26" fmla="*/ 1125 w 36820"/>
                <a:gd name="T27" fmla="*/ 19849 h 25129"/>
                <a:gd name="T28" fmla="*/ 1060 w 36820"/>
                <a:gd name="T29" fmla="*/ 1793 h 25129"/>
                <a:gd name="T30" fmla="*/ 3689 w 36820"/>
                <a:gd name="T31" fmla="*/ 982 h 25129"/>
                <a:gd name="T32" fmla="*/ 5782 w 36820"/>
                <a:gd name="T33" fmla="*/ 977 h 25129"/>
                <a:gd name="T34" fmla="*/ 9101 w 36820"/>
                <a:gd name="T35" fmla="*/ 2101 h 25129"/>
                <a:gd name="T36" fmla="*/ 13309 w 36820"/>
                <a:gd name="T37" fmla="*/ 5963 h 25129"/>
                <a:gd name="T38" fmla="*/ 15246 w 36820"/>
                <a:gd name="T39" fmla="*/ 7767 h 25129"/>
                <a:gd name="T40" fmla="*/ 16641 w 36820"/>
                <a:gd name="T41" fmla="*/ 8970 h 25129"/>
                <a:gd name="T42" fmla="*/ 24643 w 36820"/>
                <a:gd name="T43" fmla="*/ 11779 h 25129"/>
                <a:gd name="T44" fmla="*/ 27567 w 36820"/>
                <a:gd name="T45" fmla="*/ 11469 h 25129"/>
                <a:gd name="T46" fmla="*/ 22316 w 36820"/>
                <a:gd name="T47" fmla="*/ 10912 h 25129"/>
                <a:gd name="T48" fmla="*/ 16115 w 36820"/>
                <a:gd name="T49" fmla="*/ 7516 h 25129"/>
                <a:gd name="T50" fmla="*/ 14838 w 36820"/>
                <a:gd name="T51" fmla="*/ 6279 h 25129"/>
                <a:gd name="T52" fmla="*/ 10203 w 36820"/>
                <a:gd name="T53" fmla="*/ 1841 h 25129"/>
                <a:gd name="T54" fmla="*/ 6586 w 36820"/>
                <a:gd name="T55" fmla="*/ 101 h 25129"/>
                <a:gd name="T56" fmla="*/ 5685 w 36820"/>
                <a:gd name="T57" fmla="*/ 29 h 25129"/>
                <a:gd name="T58" fmla="*/ 1071 w 36820"/>
                <a:gd name="T59" fmla="*/ 0 h 25129"/>
                <a:gd name="T60" fmla="*/ 9 w 36820"/>
                <a:gd name="T61" fmla="*/ 14968 h 25129"/>
                <a:gd name="T62" fmla="*/ 2 w 36820"/>
                <a:gd name="T63" fmla="*/ 21079 h 25129"/>
                <a:gd name="T64" fmla="*/ 1566 w 36820"/>
                <a:gd name="T65" fmla="*/ 23950 h 25129"/>
                <a:gd name="T66" fmla="*/ 4502 w 36820"/>
                <a:gd name="T67" fmla="*/ 25118 h 25129"/>
                <a:gd name="T68" fmla="*/ 5500 w 36820"/>
                <a:gd name="T69" fmla="*/ 25123 h 25129"/>
                <a:gd name="T70" fmla="*/ 6180 w 36820"/>
                <a:gd name="T71" fmla="*/ 25096 h 25129"/>
                <a:gd name="T72" fmla="*/ 7622 w 36820"/>
                <a:gd name="T73" fmla="*/ 24285 h 25129"/>
                <a:gd name="T74" fmla="*/ 7674 w 36820"/>
                <a:gd name="T75" fmla="*/ 23387 h 25129"/>
                <a:gd name="T76" fmla="*/ 7658 w 36820"/>
                <a:gd name="T77" fmla="*/ 16629 h 25129"/>
                <a:gd name="T78" fmla="*/ 9720 w 36820"/>
                <a:gd name="T79" fmla="*/ 14049 h 25129"/>
                <a:gd name="T80" fmla="*/ 10716 w 36820"/>
                <a:gd name="T81" fmla="*/ 13953 h 25129"/>
                <a:gd name="T82" fmla="*/ 16254 w 36820"/>
                <a:gd name="T83" fmla="*/ 16889 h 25129"/>
                <a:gd name="T84" fmla="*/ 19370 w 36820"/>
                <a:gd name="T85" fmla="*/ 19687 h 25129"/>
                <a:gd name="T86" fmla="*/ 26024 w 36820"/>
                <a:gd name="T87" fmla="*/ 23232 h 25129"/>
                <a:gd name="T88" fmla="*/ 31256 w 36820"/>
                <a:gd name="T89" fmla="*/ 20132 h 25129"/>
                <a:gd name="T90" fmla="*/ 35607 w 36820"/>
                <a:gd name="T91" fmla="*/ 15888 h 25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820" h="25129">
                  <a:moveTo>
                    <a:pt x="36432" y="14878"/>
                  </a:moveTo>
                  <a:cubicBezTo>
                    <a:pt x="35876" y="15259"/>
                    <a:pt x="35364" y="15654"/>
                    <a:pt x="34673" y="16254"/>
                  </a:cubicBezTo>
                  <a:cubicBezTo>
                    <a:pt x="34238" y="16629"/>
                    <a:pt x="33725" y="17103"/>
                    <a:pt x="33157" y="17610"/>
                  </a:cubicBezTo>
                  <a:cubicBezTo>
                    <a:pt x="33015" y="17736"/>
                    <a:pt x="32870" y="17864"/>
                    <a:pt x="32718" y="17992"/>
                  </a:cubicBezTo>
                  <a:cubicBezTo>
                    <a:pt x="32567" y="18124"/>
                    <a:pt x="32412" y="18259"/>
                    <a:pt x="32255" y="18394"/>
                  </a:cubicBezTo>
                  <a:cubicBezTo>
                    <a:pt x="31943" y="18670"/>
                    <a:pt x="31624" y="18951"/>
                    <a:pt x="31301" y="19236"/>
                  </a:cubicBezTo>
                  <a:cubicBezTo>
                    <a:pt x="30558" y="19898"/>
                    <a:pt x="29815" y="20560"/>
                    <a:pt x="29025" y="21137"/>
                  </a:cubicBezTo>
                  <a:cubicBezTo>
                    <a:pt x="28236" y="21708"/>
                    <a:pt x="27385" y="22199"/>
                    <a:pt x="26478" y="22374"/>
                  </a:cubicBezTo>
                  <a:cubicBezTo>
                    <a:pt x="26026" y="22462"/>
                    <a:pt x="25560" y="22467"/>
                    <a:pt x="25100" y="22390"/>
                  </a:cubicBezTo>
                  <a:cubicBezTo>
                    <a:pt x="24641" y="22312"/>
                    <a:pt x="24189" y="22148"/>
                    <a:pt x="23756" y="21930"/>
                  </a:cubicBezTo>
                  <a:cubicBezTo>
                    <a:pt x="22888" y="21488"/>
                    <a:pt x="22097" y="20846"/>
                    <a:pt x="21355" y="20199"/>
                  </a:cubicBezTo>
                  <a:cubicBezTo>
                    <a:pt x="20634" y="19566"/>
                    <a:pt x="19905" y="18867"/>
                    <a:pt x="19131" y="18160"/>
                  </a:cubicBezTo>
                  <a:cubicBezTo>
                    <a:pt x="18939" y="17987"/>
                    <a:pt x="18746" y="17810"/>
                    <a:pt x="18551" y="17633"/>
                  </a:cubicBezTo>
                  <a:cubicBezTo>
                    <a:pt x="18361" y="17458"/>
                    <a:pt x="18170" y="17276"/>
                    <a:pt x="17977" y="17094"/>
                  </a:cubicBezTo>
                  <a:cubicBezTo>
                    <a:pt x="17592" y="16726"/>
                    <a:pt x="17200" y="16348"/>
                    <a:pt x="16791" y="15971"/>
                  </a:cubicBezTo>
                  <a:cubicBezTo>
                    <a:pt x="15972" y="15221"/>
                    <a:pt x="15086" y="14464"/>
                    <a:pt x="14038" y="13858"/>
                  </a:cubicBezTo>
                  <a:cubicBezTo>
                    <a:pt x="13515" y="13555"/>
                    <a:pt x="12950" y="13295"/>
                    <a:pt x="12348" y="13109"/>
                  </a:cubicBezTo>
                  <a:cubicBezTo>
                    <a:pt x="11746" y="12926"/>
                    <a:pt x="11108" y="12821"/>
                    <a:pt x="10465" y="12817"/>
                  </a:cubicBezTo>
                  <a:cubicBezTo>
                    <a:pt x="9777" y="12807"/>
                    <a:pt x="9074" y="12994"/>
                    <a:pt x="8475" y="13344"/>
                  </a:cubicBezTo>
                  <a:cubicBezTo>
                    <a:pt x="7873" y="13695"/>
                    <a:pt x="7368" y="14204"/>
                    <a:pt x="7019" y="14808"/>
                  </a:cubicBezTo>
                  <a:cubicBezTo>
                    <a:pt x="6668" y="15410"/>
                    <a:pt x="6479" y="16115"/>
                    <a:pt x="6482" y="16811"/>
                  </a:cubicBezTo>
                  <a:cubicBezTo>
                    <a:pt x="6482" y="17401"/>
                    <a:pt x="6482" y="17992"/>
                    <a:pt x="6482" y="18580"/>
                  </a:cubicBezTo>
                  <a:cubicBezTo>
                    <a:pt x="6485" y="19759"/>
                    <a:pt x="6487" y="20935"/>
                    <a:pt x="6489" y="22101"/>
                  </a:cubicBezTo>
                  <a:cubicBezTo>
                    <a:pt x="6492" y="22608"/>
                    <a:pt x="6495" y="23111"/>
                    <a:pt x="6497" y="23614"/>
                  </a:cubicBezTo>
                  <a:cubicBezTo>
                    <a:pt x="6498" y="23677"/>
                    <a:pt x="6498" y="23746"/>
                    <a:pt x="6467" y="23803"/>
                  </a:cubicBezTo>
                  <a:cubicBezTo>
                    <a:pt x="6451" y="23831"/>
                    <a:pt x="6427" y="23854"/>
                    <a:pt x="6399" y="23870"/>
                  </a:cubicBezTo>
                  <a:cubicBezTo>
                    <a:pt x="6371" y="23885"/>
                    <a:pt x="6339" y="23892"/>
                    <a:pt x="6308" y="23899"/>
                  </a:cubicBezTo>
                  <a:cubicBezTo>
                    <a:pt x="6246" y="23912"/>
                    <a:pt x="6182" y="23919"/>
                    <a:pt x="6118" y="23924"/>
                  </a:cubicBezTo>
                  <a:cubicBezTo>
                    <a:pt x="6010" y="23933"/>
                    <a:pt x="6010" y="23933"/>
                    <a:pt x="6010" y="23933"/>
                  </a:cubicBezTo>
                  <a:cubicBezTo>
                    <a:pt x="5806" y="23944"/>
                    <a:pt x="5806" y="23944"/>
                    <a:pt x="5806" y="23944"/>
                  </a:cubicBezTo>
                  <a:cubicBezTo>
                    <a:pt x="5547" y="23955"/>
                    <a:pt x="5283" y="23960"/>
                    <a:pt x="5016" y="23962"/>
                  </a:cubicBezTo>
                  <a:cubicBezTo>
                    <a:pt x="4815" y="23964"/>
                    <a:pt x="4815" y="23964"/>
                    <a:pt x="4815" y="23964"/>
                  </a:cubicBezTo>
                  <a:cubicBezTo>
                    <a:pt x="4750" y="23966"/>
                    <a:pt x="4699" y="23964"/>
                    <a:pt x="4640" y="23962"/>
                  </a:cubicBezTo>
                  <a:cubicBezTo>
                    <a:pt x="4525" y="23957"/>
                    <a:pt x="4409" y="23946"/>
                    <a:pt x="4294" y="23930"/>
                  </a:cubicBezTo>
                  <a:cubicBezTo>
                    <a:pt x="3831" y="23863"/>
                    <a:pt x="3365" y="23706"/>
                    <a:pt x="2937" y="23479"/>
                  </a:cubicBezTo>
                  <a:cubicBezTo>
                    <a:pt x="2508" y="23252"/>
                    <a:pt x="2114" y="22956"/>
                    <a:pt x="1800" y="22601"/>
                  </a:cubicBezTo>
                  <a:cubicBezTo>
                    <a:pt x="1487" y="22247"/>
                    <a:pt x="1257" y="21836"/>
                    <a:pt x="1172" y="21409"/>
                  </a:cubicBezTo>
                  <a:cubicBezTo>
                    <a:pt x="1150" y="21303"/>
                    <a:pt x="1136" y="21194"/>
                    <a:pt x="1133" y="21086"/>
                  </a:cubicBezTo>
                  <a:cubicBezTo>
                    <a:pt x="1131" y="21000"/>
                    <a:pt x="1131" y="21000"/>
                    <a:pt x="1131" y="21000"/>
                  </a:cubicBezTo>
                  <a:cubicBezTo>
                    <a:pt x="1130" y="20895"/>
                    <a:pt x="1130" y="20895"/>
                    <a:pt x="1130" y="20895"/>
                  </a:cubicBezTo>
                  <a:cubicBezTo>
                    <a:pt x="1130" y="20686"/>
                    <a:pt x="1130" y="20686"/>
                    <a:pt x="1130" y="20686"/>
                  </a:cubicBezTo>
                  <a:cubicBezTo>
                    <a:pt x="1128" y="20408"/>
                    <a:pt x="1127" y="20129"/>
                    <a:pt x="1125" y="19849"/>
                  </a:cubicBezTo>
                  <a:cubicBezTo>
                    <a:pt x="1123" y="19290"/>
                    <a:pt x="1120" y="18730"/>
                    <a:pt x="1118" y="18167"/>
                  </a:cubicBezTo>
                  <a:cubicBezTo>
                    <a:pt x="1114" y="17044"/>
                    <a:pt x="1109" y="15917"/>
                    <a:pt x="1105" y="14786"/>
                  </a:cubicBezTo>
                  <a:cubicBezTo>
                    <a:pt x="1094" y="10863"/>
                    <a:pt x="1065" y="3552"/>
                    <a:pt x="1060" y="1793"/>
                  </a:cubicBezTo>
                  <a:cubicBezTo>
                    <a:pt x="1059" y="1554"/>
                    <a:pt x="1067" y="1418"/>
                    <a:pt x="1067" y="1406"/>
                  </a:cubicBezTo>
                  <a:cubicBezTo>
                    <a:pt x="1067" y="1152"/>
                    <a:pt x="1084" y="988"/>
                    <a:pt x="1480" y="988"/>
                  </a:cubicBezTo>
                  <a:cubicBezTo>
                    <a:pt x="2013" y="988"/>
                    <a:pt x="2956" y="985"/>
                    <a:pt x="3689" y="982"/>
                  </a:cubicBezTo>
                  <a:cubicBezTo>
                    <a:pt x="4090" y="982"/>
                    <a:pt x="4490" y="980"/>
                    <a:pt x="4890" y="979"/>
                  </a:cubicBezTo>
                  <a:cubicBezTo>
                    <a:pt x="5089" y="978"/>
                    <a:pt x="5289" y="978"/>
                    <a:pt x="5488" y="977"/>
                  </a:cubicBezTo>
                  <a:cubicBezTo>
                    <a:pt x="5782" y="977"/>
                    <a:pt x="5782" y="977"/>
                    <a:pt x="5782" y="977"/>
                  </a:cubicBezTo>
                  <a:cubicBezTo>
                    <a:pt x="5868" y="980"/>
                    <a:pt x="5965" y="984"/>
                    <a:pt x="6055" y="990"/>
                  </a:cubicBezTo>
                  <a:cubicBezTo>
                    <a:pt x="6789" y="1041"/>
                    <a:pt x="7508" y="1231"/>
                    <a:pt x="8166" y="1545"/>
                  </a:cubicBezTo>
                  <a:cubicBezTo>
                    <a:pt x="8495" y="1700"/>
                    <a:pt x="8808" y="1887"/>
                    <a:pt x="9101" y="2101"/>
                  </a:cubicBezTo>
                  <a:cubicBezTo>
                    <a:pt x="9248" y="2207"/>
                    <a:pt x="9389" y="2321"/>
                    <a:pt x="9525" y="2439"/>
                  </a:cubicBezTo>
                  <a:cubicBezTo>
                    <a:pt x="9658" y="2556"/>
                    <a:pt x="9801" y="2695"/>
                    <a:pt x="9944" y="2827"/>
                  </a:cubicBezTo>
                  <a:cubicBezTo>
                    <a:pt x="11082" y="3888"/>
                    <a:pt x="12204" y="4934"/>
                    <a:pt x="13309" y="5963"/>
                  </a:cubicBezTo>
                  <a:cubicBezTo>
                    <a:pt x="13861" y="6478"/>
                    <a:pt x="14409" y="6987"/>
                    <a:pt x="14951" y="7491"/>
                  </a:cubicBezTo>
                  <a:cubicBezTo>
                    <a:pt x="15155" y="7680"/>
                    <a:pt x="15155" y="7680"/>
                    <a:pt x="15155" y="7680"/>
                  </a:cubicBezTo>
                  <a:cubicBezTo>
                    <a:pt x="15246" y="7767"/>
                    <a:pt x="15246" y="7767"/>
                    <a:pt x="15246" y="7767"/>
                  </a:cubicBezTo>
                  <a:cubicBezTo>
                    <a:pt x="15349" y="7866"/>
                    <a:pt x="15349" y="7866"/>
                    <a:pt x="15349" y="7866"/>
                  </a:cubicBezTo>
                  <a:cubicBezTo>
                    <a:pt x="15486" y="8000"/>
                    <a:pt x="15625" y="8128"/>
                    <a:pt x="15766" y="8254"/>
                  </a:cubicBezTo>
                  <a:cubicBezTo>
                    <a:pt x="16050" y="8505"/>
                    <a:pt x="16341" y="8744"/>
                    <a:pt x="16641" y="8970"/>
                  </a:cubicBezTo>
                  <a:cubicBezTo>
                    <a:pt x="17706" y="9776"/>
                    <a:pt x="18804" y="10356"/>
                    <a:pt x="19828" y="10768"/>
                  </a:cubicBezTo>
                  <a:cubicBezTo>
                    <a:pt x="20855" y="11180"/>
                    <a:pt x="21808" y="11423"/>
                    <a:pt x="22626" y="11568"/>
                  </a:cubicBezTo>
                  <a:cubicBezTo>
                    <a:pt x="23444" y="11713"/>
                    <a:pt x="24128" y="11763"/>
                    <a:pt x="24643" y="11779"/>
                  </a:cubicBezTo>
                  <a:cubicBezTo>
                    <a:pt x="25159" y="11792"/>
                    <a:pt x="25507" y="11773"/>
                    <a:pt x="25667" y="11755"/>
                  </a:cubicBezTo>
                  <a:cubicBezTo>
                    <a:pt x="26292" y="11727"/>
                    <a:pt x="26757" y="11664"/>
                    <a:pt x="27069" y="11608"/>
                  </a:cubicBezTo>
                  <a:cubicBezTo>
                    <a:pt x="27383" y="11552"/>
                    <a:pt x="27549" y="11499"/>
                    <a:pt x="27567" y="11469"/>
                  </a:cubicBezTo>
                  <a:cubicBezTo>
                    <a:pt x="27586" y="11436"/>
                    <a:pt x="27455" y="11424"/>
                    <a:pt x="27175" y="11422"/>
                  </a:cubicBezTo>
                  <a:cubicBezTo>
                    <a:pt x="26893" y="11416"/>
                    <a:pt x="26525" y="11420"/>
                    <a:pt x="25859" y="11398"/>
                  </a:cubicBezTo>
                  <a:cubicBezTo>
                    <a:pt x="25027" y="11367"/>
                    <a:pt x="23806" y="11287"/>
                    <a:pt x="22316" y="10912"/>
                  </a:cubicBezTo>
                  <a:cubicBezTo>
                    <a:pt x="21573" y="10721"/>
                    <a:pt x="20765" y="10457"/>
                    <a:pt x="19925" y="10078"/>
                  </a:cubicBezTo>
                  <a:cubicBezTo>
                    <a:pt x="19086" y="9698"/>
                    <a:pt x="18216" y="9206"/>
                    <a:pt x="17366" y="8573"/>
                  </a:cubicBezTo>
                  <a:cubicBezTo>
                    <a:pt x="16942" y="8256"/>
                    <a:pt x="16522" y="7904"/>
                    <a:pt x="16115" y="7516"/>
                  </a:cubicBezTo>
                  <a:cubicBezTo>
                    <a:pt x="16013" y="7420"/>
                    <a:pt x="15913" y="7320"/>
                    <a:pt x="15813" y="7218"/>
                  </a:cubicBezTo>
                  <a:cubicBezTo>
                    <a:pt x="15706" y="7114"/>
                    <a:pt x="15597" y="7010"/>
                    <a:pt x="15488" y="6905"/>
                  </a:cubicBezTo>
                  <a:cubicBezTo>
                    <a:pt x="15274" y="6699"/>
                    <a:pt x="15058" y="6490"/>
                    <a:pt x="14838" y="6279"/>
                  </a:cubicBezTo>
                  <a:cubicBezTo>
                    <a:pt x="13957" y="5435"/>
                    <a:pt x="13032" y="4548"/>
                    <a:pt x="12067" y="3623"/>
                  </a:cubicBezTo>
                  <a:cubicBezTo>
                    <a:pt x="11583" y="3160"/>
                    <a:pt x="11089" y="2687"/>
                    <a:pt x="10586" y="2205"/>
                  </a:cubicBezTo>
                  <a:cubicBezTo>
                    <a:pt x="10459" y="2085"/>
                    <a:pt x="10331" y="1963"/>
                    <a:pt x="10203" y="1841"/>
                  </a:cubicBezTo>
                  <a:cubicBezTo>
                    <a:pt x="10062" y="1710"/>
                    <a:pt x="9921" y="1590"/>
                    <a:pt x="9771" y="1472"/>
                  </a:cubicBezTo>
                  <a:cubicBezTo>
                    <a:pt x="9473" y="1239"/>
                    <a:pt x="9152" y="1028"/>
                    <a:pt x="8813" y="844"/>
                  </a:cubicBezTo>
                  <a:cubicBezTo>
                    <a:pt x="8134" y="476"/>
                    <a:pt x="7377" y="218"/>
                    <a:pt x="6586" y="101"/>
                  </a:cubicBezTo>
                  <a:cubicBezTo>
                    <a:pt x="6388" y="72"/>
                    <a:pt x="6188" y="52"/>
                    <a:pt x="5986" y="39"/>
                  </a:cubicBezTo>
                  <a:cubicBezTo>
                    <a:pt x="5834" y="32"/>
                    <a:pt x="5834" y="32"/>
                    <a:pt x="5834" y="32"/>
                  </a:cubicBezTo>
                  <a:cubicBezTo>
                    <a:pt x="5778" y="30"/>
                    <a:pt x="5731" y="29"/>
                    <a:pt x="5685" y="29"/>
                  </a:cubicBezTo>
                  <a:cubicBezTo>
                    <a:pt x="5590" y="28"/>
                    <a:pt x="5495" y="28"/>
                    <a:pt x="5400" y="27"/>
                  </a:cubicBezTo>
                  <a:cubicBezTo>
                    <a:pt x="5021" y="25"/>
                    <a:pt x="4638" y="22"/>
                    <a:pt x="4253" y="19"/>
                  </a:cubicBezTo>
                  <a:cubicBezTo>
                    <a:pt x="3214" y="13"/>
                    <a:pt x="2153" y="7"/>
                    <a:pt x="1071" y="0"/>
                  </a:cubicBezTo>
                  <a:cubicBezTo>
                    <a:pt x="440" y="30"/>
                    <a:pt x="70" y="466"/>
                    <a:pt x="71" y="993"/>
                  </a:cubicBezTo>
                  <a:cubicBezTo>
                    <a:pt x="72" y="1520"/>
                    <a:pt x="57" y="3521"/>
                    <a:pt x="51" y="4786"/>
                  </a:cubicBezTo>
                  <a:cubicBezTo>
                    <a:pt x="37" y="8137"/>
                    <a:pt x="23" y="11548"/>
                    <a:pt x="9" y="14968"/>
                  </a:cubicBezTo>
                  <a:cubicBezTo>
                    <a:pt x="7" y="16681"/>
                    <a:pt x="4" y="18396"/>
                    <a:pt x="1" y="20107"/>
                  </a:cubicBezTo>
                  <a:cubicBezTo>
                    <a:pt x="0" y="20749"/>
                    <a:pt x="0" y="20749"/>
                    <a:pt x="0" y="20749"/>
                  </a:cubicBezTo>
                  <a:cubicBezTo>
                    <a:pt x="2" y="21079"/>
                    <a:pt x="2" y="21079"/>
                    <a:pt x="2" y="21079"/>
                  </a:cubicBezTo>
                  <a:cubicBezTo>
                    <a:pt x="3" y="21211"/>
                    <a:pt x="14" y="21340"/>
                    <a:pt x="32" y="21470"/>
                  </a:cubicBezTo>
                  <a:cubicBezTo>
                    <a:pt x="107" y="21988"/>
                    <a:pt x="310" y="22469"/>
                    <a:pt x="582" y="22884"/>
                  </a:cubicBezTo>
                  <a:cubicBezTo>
                    <a:pt x="855" y="23299"/>
                    <a:pt x="1193" y="23650"/>
                    <a:pt x="1566" y="23950"/>
                  </a:cubicBezTo>
                  <a:cubicBezTo>
                    <a:pt x="1939" y="24247"/>
                    <a:pt x="2347" y="24492"/>
                    <a:pt x="2779" y="24682"/>
                  </a:cubicBezTo>
                  <a:cubicBezTo>
                    <a:pt x="3211" y="24873"/>
                    <a:pt x="3668" y="25010"/>
                    <a:pt x="4143" y="25080"/>
                  </a:cubicBezTo>
                  <a:cubicBezTo>
                    <a:pt x="4261" y="25098"/>
                    <a:pt x="4381" y="25111"/>
                    <a:pt x="4502" y="25118"/>
                  </a:cubicBezTo>
                  <a:cubicBezTo>
                    <a:pt x="4562" y="25123"/>
                    <a:pt x="4623" y="25125"/>
                    <a:pt x="4684" y="25127"/>
                  </a:cubicBezTo>
                  <a:cubicBezTo>
                    <a:pt x="4856" y="25129"/>
                    <a:pt x="4856" y="25129"/>
                    <a:pt x="4856" y="25129"/>
                  </a:cubicBezTo>
                  <a:cubicBezTo>
                    <a:pt x="5068" y="25129"/>
                    <a:pt x="5284" y="25127"/>
                    <a:pt x="5500" y="25123"/>
                  </a:cubicBezTo>
                  <a:cubicBezTo>
                    <a:pt x="5826" y="25114"/>
                    <a:pt x="5826" y="25114"/>
                    <a:pt x="5826" y="25114"/>
                  </a:cubicBezTo>
                  <a:cubicBezTo>
                    <a:pt x="5990" y="25107"/>
                    <a:pt x="5990" y="25107"/>
                    <a:pt x="5990" y="25107"/>
                  </a:cubicBezTo>
                  <a:cubicBezTo>
                    <a:pt x="6180" y="25096"/>
                    <a:pt x="6180" y="25096"/>
                    <a:pt x="6180" y="25096"/>
                  </a:cubicBezTo>
                  <a:cubicBezTo>
                    <a:pt x="6494" y="25075"/>
                    <a:pt x="6817" y="25044"/>
                    <a:pt x="7084" y="24932"/>
                  </a:cubicBezTo>
                  <a:cubicBezTo>
                    <a:pt x="7216" y="24876"/>
                    <a:pt x="7342" y="24793"/>
                    <a:pt x="7436" y="24676"/>
                  </a:cubicBezTo>
                  <a:cubicBezTo>
                    <a:pt x="7531" y="24561"/>
                    <a:pt x="7588" y="24426"/>
                    <a:pt x="7622" y="24285"/>
                  </a:cubicBezTo>
                  <a:cubicBezTo>
                    <a:pt x="7640" y="24215"/>
                    <a:pt x="7652" y="24142"/>
                    <a:pt x="7660" y="24067"/>
                  </a:cubicBezTo>
                  <a:cubicBezTo>
                    <a:pt x="7670" y="23993"/>
                    <a:pt x="7665" y="23912"/>
                    <a:pt x="7668" y="23834"/>
                  </a:cubicBezTo>
                  <a:cubicBezTo>
                    <a:pt x="7674" y="23387"/>
                    <a:pt x="7674" y="23387"/>
                    <a:pt x="7674" y="23387"/>
                  </a:cubicBezTo>
                  <a:cubicBezTo>
                    <a:pt x="7669" y="21716"/>
                    <a:pt x="7665" y="20060"/>
                    <a:pt x="7660" y="18425"/>
                  </a:cubicBezTo>
                  <a:cubicBezTo>
                    <a:pt x="7658" y="18017"/>
                    <a:pt x="7657" y="17610"/>
                    <a:pt x="7655" y="17204"/>
                  </a:cubicBezTo>
                  <a:cubicBezTo>
                    <a:pt x="7657" y="17006"/>
                    <a:pt x="7650" y="16786"/>
                    <a:pt x="7658" y="16629"/>
                  </a:cubicBezTo>
                  <a:cubicBezTo>
                    <a:pt x="7667" y="16461"/>
                    <a:pt x="7692" y="16292"/>
                    <a:pt x="7731" y="16128"/>
                  </a:cubicBezTo>
                  <a:cubicBezTo>
                    <a:pt x="7887" y="15470"/>
                    <a:pt x="8290" y="14876"/>
                    <a:pt x="8831" y="14482"/>
                  </a:cubicBezTo>
                  <a:cubicBezTo>
                    <a:pt x="9101" y="14285"/>
                    <a:pt x="9403" y="14137"/>
                    <a:pt x="9720" y="14049"/>
                  </a:cubicBezTo>
                  <a:cubicBezTo>
                    <a:pt x="9878" y="14006"/>
                    <a:pt x="10041" y="13973"/>
                    <a:pt x="10204" y="13959"/>
                  </a:cubicBezTo>
                  <a:cubicBezTo>
                    <a:pt x="10286" y="13951"/>
                    <a:pt x="10366" y="13948"/>
                    <a:pt x="10450" y="13948"/>
                  </a:cubicBezTo>
                  <a:cubicBezTo>
                    <a:pt x="10539" y="13946"/>
                    <a:pt x="10627" y="13950"/>
                    <a:pt x="10716" y="13953"/>
                  </a:cubicBezTo>
                  <a:cubicBezTo>
                    <a:pt x="11424" y="13984"/>
                    <a:pt x="12116" y="14162"/>
                    <a:pt x="12766" y="14442"/>
                  </a:cubicBezTo>
                  <a:cubicBezTo>
                    <a:pt x="13418" y="14721"/>
                    <a:pt x="14029" y="15100"/>
                    <a:pt x="14605" y="15522"/>
                  </a:cubicBezTo>
                  <a:cubicBezTo>
                    <a:pt x="15182" y="15946"/>
                    <a:pt x="15725" y="16411"/>
                    <a:pt x="16254" y="16889"/>
                  </a:cubicBezTo>
                  <a:cubicBezTo>
                    <a:pt x="16784" y="17365"/>
                    <a:pt x="17299" y="17853"/>
                    <a:pt x="17826" y="18324"/>
                  </a:cubicBezTo>
                  <a:cubicBezTo>
                    <a:pt x="18089" y="18555"/>
                    <a:pt x="18350" y="18784"/>
                    <a:pt x="18608" y="19011"/>
                  </a:cubicBezTo>
                  <a:cubicBezTo>
                    <a:pt x="18864" y="19238"/>
                    <a:pt x="19118" y="19463"/>
                    <a:pt x="19370" y="19687"/>
                  </a:cubicBezTo>
                  <a:cubicBezTo>
                    <a:pt x="20380" y="20583"/>
                    <a:pt x="21360" y="21468"/>
                    <a:pt x="22447" y="22172"/>
                  </a:cubicBezTo>
                  <a:cubicBezTo>
                    <a:pt x="22991" y="22520"/>
                    <a:pt x="23565" y="22819"/>
                    <a:pt x="24172" y="23012"/>
                  </a:cubicBezTo>
                  <a:cubicBezTo>
                    <a:pt x="24778" y="23207"/>
                    <a:pt x="25416" y="23286"/>
                    <a:pt x="26024" y="23232"/>
                  </a:cubicBezTo>
                  <a:cubicBezTo>
                    <a:pt x="26633" y="23183"/>
                    <a:pt x="27205" y="23008"/>
                    <a:pt x="27714" y="22778"/>
                  </a:cubicBezTo>
                  <a:cubicBezTo>
                    <a:pt x="28225" y="22545"/>
                    <a:pt x="28681" y="22258"/>
                    <a:pt x="29100" y="21961"/>
                  </a:cubicBezTo>
                  <a:cubicBezTo>
                    <a:pt x="29933" y="21360"/>
                    <a:pt x="30625" y="20720"/>
                    <a:pt x="31256" y="20132"/>
                  </a:cubicBezTo>
                  <a:cubicBezTo>
                    <a:pt x="31875" y="19545"/>
                    <a:pt x="32444" y="19006"/>
                    <a:pt x="32962" y="18513"/>
                  </a:cubicBezTo>
                  <a:cubicBezTo>
                    <a:pt x="33480" y="18034"/>
                    <a:pt x="33921" y="17585"/>
                    <a:pt x="34299" y="17202"/>
                  </a:cubicBezTo>
                  <a:cubicBezTo>
                    <a:pt x="34906" y="16593"/>
                    <a:pt x="35248" y="16240"/>
                    <a:pt x="35607" y="15888"/>
                  </a:cubicBezTo>
                  <a:cubicBezTo>
                    <a:pt x="36146" y="15365"/>
                    <a:pt x="36518" y="15039"/>
                    <a:pt x="36667" y="14875"/>
                  </a:cubicBezTo>
                  <a:cubicBezTo>
                    <a:pt x="36820" y="14712"/>
                    <a:pt x="36745" y="14705"/>
                    <a:pt x="36432" y="14878"/>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5"/>
            <p:cNvSpPr>
              <a:spLocks noEditPoints="1"/>
            </p:cNvSpPr>
            <p:nvPr userDrawn="1"/>
          </p:nvSpPr>
          <p:spPr bwMode="auto">
            <a:xfrm>
              <a:off x="-85296375" y="18191163"/>
              <a:ext cx="195448238" cy="98140837"/>
            </a:xfrm>
            <a:custGeom>
              <a:avLst/>
              <a:gdLst>
                <a:gd name="T0" fmla="*/ 49583 w 52117"/>
                <a:gd name="T1" fmla="*/ 737 h 26168"/>
                <a:gd name="T2" fmla="*/ 35822 w 52117"/>
                <a:gd name="T3" fmla="*/ 7517 h 26168"/>
                <a:gd name="T4" fmla="*/ 33730 w 52117"/>
                <a:gd name="T5" fmla="*/ 9149 h 26168"/>
                <a:gd name="T6" fmla="*/ 17258 w 52117"/>
                <a:gd name="T7" fmla="*/ 7854 h 26168"/>
                <a:gd name="T8" fmla="*/ 11345 w 52117"/>
                <a:gd name="T9" fmla="*/ 2224 h 26168"/>
                <a:gd name="T10" fmla="*/ 9326 w 52117"/>
                <a:gd name="T11" fmla="*/ 768 h 26168"/>
                <a:gd name="T12" fmla="*/ 1375 w 52117"/>
                <a:gd name="T13" fmla="*/ 0 h 26168"/>
                <a:gd name="T14" fmla="*/ 5 w 52117"/>
                <a:gd name="T15" fmla="*/ 19472 h 26168"/>
                <a:gd name="T16" fmla="*/ 5 w 52117"/>
                <a:gd name="T17" fmla="*/ 21740 h 26168"/>
                <a:gd name="T18" fmla="*/ 2995 w 52117"/>
                <a:gd name="T19" fmla="*/ 25633 h 26168"/>
                <a:gd name="T20" fmla="*/ 5449 w 52117"/>
                <a:gd name="T21" fmla="*/ 26168 h 26168"/>
                <a:gd name="T22" fmla="*/ 6688 w 52117"/>
                <a:gd name="T23" fmla="*/ 26141 h 26168"/>
                <a:gd name="T24" fmla="*/ 8720 w 52117"/>
                <a:gd name="T25" fmla="*/ 24416 h 26168"/>
                <a:gd name="T26" fmla="*/ 8736 w 52117"/>
                <a:gd name="T27" fmla="*/ 21563 h 26168"/>
                <a:gd name="T28" fmla="*/ 8741 w 52117"/>
                <a:gd name="T29" fmla="*/ 17270 h 26168"/>
                <a:gd name="T30" fmla="*/ 10456 w 52117"/>
                <a:gd name="T31" fmla="*/ 15112 h 26168"/>
                <a:gd name="T32" fmla="*/ 15098 w 52117"/>
                <a:gd name="T33" fmla="*/ 16805 h 26168"/>
                <a:gd name="T34" fmla="*/ 21041 w 52117"/>
                <a:gd name="T35" fmla="*/ 22112 h 26168"/>
                <a:gd name="T36" fmla="*/ 28486 w 52117"/>
                <a:gd name="T37" fmla="*/ 24005 h 26168"/>
                <a:gd name="T38" fmla="*/ 36202 w 52117"/>
                <a:gd name="T39" fmla="*/ 17676 h 26168"/>
                <a:gd name="T40" fmla="*/ 41491 w 52117"/>
                <a:gd name="T41" fmla="*/ 14928 h 26168"/>
                <a:gd name="T42" fmla="*/ 43802 w 52117"/>
                <a:gd name="T43" fmla="*/ 16791 h 26168"/>
                <a:gd name="T44" fmla="*/ 43869 w 52117"/>
                <a:gd name="T45" fmla="*/ 17719 h 26168"/>
                <a:gd name="T46" fmla="*/ 43910 w 52117"/>
                <a:gd name="T47" fmla="*/ 21574 h 26168"/>
                <a:gd name="T48" fmla="*/ 45077 w 52117"/>
                <a:gd name="T49" fmla="*/ 24167 h 26168"/>
                <a:gd name="T50" fmla="*/ 49081 w 52117"/>
                <a:gd name="T51" fmla="*/ 25882 h 26168"/>
                <a:gd name="T52" fmla="*/ 50914 w 52117"/>
                <a:gd name="T53" fmla="*/ 25770 h 26168"/>
                <a:gd name="T54" fmla="*/ 52046 w 52117"/>
                <a:gd name="T55" fmla="*/ 24904 h 26168"/>
                <a:gd name="T56" fmla="*/ 50669 w 52117"/>
                <a:gd name="T57" fmla="*/ 23321 h 26168"/>
                <a:gd name="T58" fmla="*/ 50634 w 52117"/>
                <a:gd name="T59" fmla="*/ 24234 h 26168"/>
                <a:gd name="T60" fmla="*/ 50132 w 52117"/>
                <a:gd name="T61" fmla="*/ 24338 h 26168"/>
                <a:gd name="T62" fmla="*/ 49062 w 52117"/>
                <a:gd name="T63" fmla="*/ 24349 h 26168"/>
                <a:gd name="T64" fmla="*/ 45648 w 52117"/>
                <a:gd name="T65" fmla="*/ 22048 h 26168"/>
                <a:gd name="T66" fmla="*/ 45578 w 52117"/>
                <a:gd name="T67" fmla="*/ 21214 h 26168"/>
                <a:gd name="T68" fmla="*/ 45603 w 52117"/>
                <a:gd name="T69" fmla="*/ 17236 h 26168"/>
                <a:gd name="T70" fmla="*/ 43192 w 52117"/>
                <a:gd name="T71" fmla="*/ 13496 h 26168"/>
                <a:gd name="T72" fmla="*/ 38820 w 52117"/>
                <a:gd name="T73" fmla="*/ 13635 h 26168"/>
                <a:gd name="T74" fmla="*/ 33083 w 52117"/>
                <a:gd name="T75" fmla="*/ 17952 h 26168"/>
                <a:gd name="T76" fmla="*/ 27369 w 52117"/>
                <a:gd name="T77" fmla="*/ 22286 h 26168"/>
                <a:gd name="T78" fmla="*/ 19412 w 52117"/>
                <a:gd name="T79" fmla="*/ 17873 h 26168"/>
                <a:gd name="T80" fmla="*/ 14267 w 52117"/>
                <a:gd name="T81" fmla="*/ 13745 h 26168"/>
                <a:gd name="T82" fmla="*/ 10663 w 52117"/>
                <a:gd name="T83" fmla="*/ 12928 h 26168"/>
                <a:gd name="T84" fmla="*/ 6626 w 52117"/>
                <a:gd name="T85" fmla="*/ 16744 h 26168"/>
                <a:gd name="T86" fmla="*/ 6586 w 52117"/>
                <a:gd name="T87" fmla="*/ 18257 h 26168"/>
                <a:gd name="T88" fmla="*/ 6568 w 52117"/>
                <a:gd name="T89" fmla="*/ 23938 h 26168"/>
                <a:gd name="T90" fmla="*/ 6529 w 52117"/>
                <a:gd name="T91" fmla="*/ 23981 h 26168"/>
                <a:gd name="T92" fmla="*/ 5838 w 52117"/>
                <a:gd name="T93" fmla="*/ 23999 h 26168"/>
                <a:gd name="T94" fmla="*/ 5033 w 52117"/>
                <a:gd name="T95" fmla="*/ 23985 h 26168"/>
                <a:gd name="T96" fmla="*/ 2175 w 52117"/>
                <a:gd name="T97" fmla="*/ 16149 h 26168"/>
                <a:gd name="T98" fmla="*/ 6032 w 52117"/>
                <a:gd name="T99" fmla="*/ 2106 h 26168"/>
                <a:gd name="T100" fmla="*/ 9691 w 52117"/>
                <a:gd name="T101" fmla="*/ 3488 h 26168"/>
                <a:gd name="T102" fmla="*/ 13560 w 52117"/>
                <a:gd name="T103" fmla="*/ 7102 h 26168"/>
                <a:gd name="T104" fmla="*/ 15301 w 52117"/>
                <a:gd name="T105" fmla="*/ 8723 h 26168"/>
                <a:gd name="T106" fmla="*/ 17946 w 52117"/>
                <a:gd name="T107" fmla="*/ 10792 h 26168"/>
                <a:gd name="T108" fmla="*/ 24225 w 52117"/>
                <a:gd name="T109" fmla="*/ 12916 h 26168"/>
                <a:gd name="T110" fmla="*/ 34787 w 52117"/>
                <a:gd name="T111" fmla="*/ 10330 h 26168"/>
                <a:gd name="T112" fmla="*/ 43890 w 52117"/>
                <a:gd name="T113" fmla="*/ 1677 h 26168"/>
                <a:gd name="T114" fmla="*/ 50331 w 52117"/>
                <a:gd name="T115" fmla="*/ 3278 h 26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117" h="26168">
                  <a:moveTo>
                    <a:pt x="52107" y="4115"/>
                  </a:moveTo>
                  <a:cubicBezTo>
                    <a:pt x="52091" y="3841"/>
                    <a:pt x="52040" y="3427"/>
                    <a:pt x="51838" y="2930"/>
                  </a:cubicBezTo>
                  <a:cubicBezTo>
                    <a:pt x="51638" y="2436"/>
                    <a:pt x="51278" y="1854"/>
                    <a:pt x="50670" y="1361"/>
                  </a:cubicBezTo>
                  <a:cubicBezTo>
                    <a:pt x="50367" y="1116"/>
                    <a:pt x="50002" y="896"/>
                    <a:pt x="49583" y="737"/>
                  </a:cubicBezTo>
                  <a:cubicBezTo>
                    <a:pt x="49164" y="577"/>
                    <a:pt x="48683" y="480"/>
                    <a:pt x="48187" y="476"/>
                  </a:cubicBezTo>
                  <a:cubicBezTo>
                    <a:pt x="47024" y="459"/>
                    <a:pt x="44252" y="418"/>
                    <a:pt x="43968" y="420"/>
                  </a:cubicBezTo>
                  <a:cubicBezTo>
                    <a:pt x="43684" y="422"/>
                    <a:pt x="43402" y="560"/>
                    <a:pt x="43268" y="682"/>
                  </a:cubicBezTo>
                  <a:cubicBezTo>
                    <a:pt x="43135" y="804"/>
                    <a:pt x="38532" y="5028"/>
                    <a:pt x="35822" y="7517"/>
                  </a:cubicBezTo>
                  <a:cubicBezTo>
                    <a:pt x="35737" y="7593"/>
                    <a:pt x="35654" y="7670"/>
                    <a:pt x="35569" y="7747"/>
                  </a:cubicBezTo>
                  <a:cubicBezTo>
                    <a:pt x="35490" y="7821"/>
                    <a:pt x="35409" y="7893"/>
                    <a:pt x="35326" y="7965"/>
                  </a:cubicBezTo>
                  <a:cubicBezTo>
                    <a:pt x="35162" y="8108"/>
                    <a:pt x="34993" y="8248"/>
                    <a:pt x="34819" y="8383"/>
                  </a:cubicBezTo>
                  <a:cubicBezTo>
                    <a:pt x="34473" y="8654"/>
                    <a:pt x="34111" y="8911"/>
                    <a:pt x="33730" y="9149"/>
                  </a:cubicBezTo>
                  <a:cubicBezTo>
                    <a:pt x="32972" y="9627"/>
                    <a:pt x="32150" y="10035"/>
                    <a:pt x="31278" y="10356"/>
                  </a:cubicBezTo>
                  <a:cubicBezTo>
                    <a:pt x="29536" y="11001"/>
                    <a:pt x="27598" y="11297"/>
                    <a:pt x="25618" y="11198"/>
                  </a:cubicBezTo>
                  <a:cubicBezTo>
                    <a:pt x="23642" y="11104"/>
                    <a:pt x="21634" y="10601"/>
                    <a:pt x="19812" y="9632"/>
                  </a:cubicBezTo>
                  <a:cubicBezTo>
                    <a:pt x="18902" y="9149"/>
                    <a:pt x="18040" y="8554"/>
                    <a:pt x="17258" y="7854"/>
                  </a:cubicBezTo>
                  <a:cubicBezTo>
                    <a:pt x="16451" y="7085"/>
                    <a:pt x="15636" y="6309"/>
                    <a:pt x="14813" y="5525"/>
                  </a:cubicBezTo>
                  <a:cubicBezTo>
                    <a:pt x="13983" y="4734"/>
                    <a:pt x="13145" y="3937"/>
                    <a:pt x="12299" y="3131"/>
                  </a:cubicBezTo>
                  <a:cubicBezTo>
                    <a:pt x="12088" y="2931"/>
                    <a:pt x="11876" y="2729"/>
                    <a:pt x="11664" y="2527"/>
                  </a:cubicBezTo>
                  <a:cubicBezTo>
                    <a:pt x="11345" y="2224"/>
                    <a:pt x="11345" y="2224"/>
                    <a:pt x="11345" y="2224"/>
                  </a:cubicBezTo>
                  <a:cubicBezTo>
                    <a:pt x="11185" y="2072"/>
                    <a:pt x="11185" y="2072"/>
                    <a:pt x="11185" y="2072"/>
                  </a:cubicBezTo>
                  <a:cubicBezTo>
                    <a:pt x="11099" y="1991"/>
                    <a:pt x="11099" y="1991"/>
                    <a:pt x="11099" y="1991"/>
                  </a:cubicBezTo>
                  <a:cubicBezTo>
                    <a:pt x="11006" y="1905"/>
                    <a:pt x="11006" y="1905"/>
                    <a:pt x="11006" y="1905"/>
                  </a:cubicBezTo>
                  <a:cubicBezTo>
                    <a:pt x="10504" y="1454"/>
                    <a:pt x="9939" y="1069"/>
                    <a:pt x="9326" y="768"/>
                  </a:cubicBezTo>
                  <a:cubicBezTo>
                    <a:pt x="8713" y="467"/>
                    <a:pt x="8055" y="251"/>
                    <a:pt x="7376" y="132"/>
                  </a:cubicBezTo>
                  <a:cubicBezTo>
                    <a:pt x="7036" y="73"/>
                    <a:pt x="6698" y="37"/>
                    <a:pt x="6345" y="26"/>
                  </a:cubicBezTo>
                  <a:cubicBezTo>
                    <a:pt x="6040" y="23"/>
                    <a:pt x="5735" y="21"/>
                    <a:pt x="5430" y="18"/>
                  </a:cubicBezTo>
                  <a:cubicBezTo>
                    <a:pt x="4086" y="12"/>
                    <a:pt x="2155" y="0"/>
                    <a:pt x="1375" y="0"/>
                  </a:cubicBezTo>
                  <a:cubicBezTo>
                    <a:pt x="595" y="0"/>
                    <a:pt x="78" y="373"/>
                    <a:pt x="78" y="1289"/>
                  </a:cubicBezTo>
                  <a:cubicBezTo>
                    <a:pt x="78" y="2417"/>
                    <a:pt x="69" y="3264"/>
                    <a:pt x="65" y="4257"/>
                  </a:cubicBezTo>
                  <a:cubicBezTo>
                    <a:pt x="52" y="7480"/>
                    <a:pt x="34" y="11821"/>
                    <a:pt x="17" y="16197"/>
                  </a:cubicBezTo>
                  <a:cubicBezTo>
                    <a:pt x="13" y="17294"/>
                    <a:pt x="9" y="18390"/>
                    <a:pt x="5" y="19472"/>
                  </a:cubicBezTo>
                  <a:cubicBezTo>
                    <a:pt x="4" y="20013"/>
                    <a:pt x="2" y="20550"/>
                    <a:pt x="0" y="21082"/>
                  </a:cubicBezTo>
                  <a:cubicBezTo>
                    <a:pt x="0" y="21215"/>
                    <a:pt x="0" y="21349"/>
                    <a:pt x="0" y="21480"/>
                  </a:cubicBezTo>
                  <a:cubicBezTo>
                    <a:pt x="0" y="21599"/>
                    <a:pt x="0" y="21599"/>
                    <a:pt x="0" y="21599"/>
                  </a:cubicBezTo>
                  <a:cubicBezTo>
                    <a:pt x="0" y="21646"/>
                    <a:pt x="3" y="21693"/>
                    <a:pt x="5" y="21740"/>
                  </a:cubicBezTo>
                  <a:cubicBezTo>
                    <a:pt x="10" y="21836"/>
                    <a:pt x="20" y="21928"/>
                    <a:pt x="32" y="22021"/>
                  </a:cubicBezTo>
                  <a:cubicBezTo>
                    <a:pt x="80" y="22391"/>
                    <a:pt x="187" y="22743"/>
                    <a:pt x="330" y="23065"/>
                  </a:cubicBezTo>
                  <a:cubicBezTo>
                    <a:pt x="618" y="23711"/>
                    <a:pt x="1040" y="24230"/>
                    <a:pt x="1499" y="24647"/>
                  </a:cubicBezTo>
                  <a:cubicBezTo>
                    <a:pt x="1961" y="25065"/>
                    <a:pt x="2468" y="25388"/>
                    <a:pt x="2995" y="25633"/>
                  </a:cubicBezTo>
                  <a:cubicBezTo>
                    <a:pt x="3523" y="25876"/>
                    <a:pt x="4074" y="26042"/>
                    <a:pt x="4638" y="26120"/>
                  </a:cubicBezTo>
                  <a:cubicBezTo>
                    <a:pt x="4779" y="26140"/>
                    <a:pt x="4922" y="26154"/>
                    <a:pt x="5064" y="26161"/>
                  </a:cubicBezTo>
                  <a:cubicBezTo>
                    <a:pt x="5136" y="26163"/>
                    <a:pt x="5207" y="26167"/>
                    <a:pt x="5279" y="26167"/>
                  </a:cubicBezTo>
                  <a:cubicBezTo>
                    <a:pt x="5336" y="26167"/>
                    <a:pt x="5393" y="26167"/>
                    <a:pt x="5449" y="26168"/>
                  </a:cubicBezTo>
                  <a:cubicBezTo>
                    <a:pt x="5672" y="26168"/>
                    <a:pt x="5896" y="26167"/>
                    <a:pt x="6118" y="26163"/>
                  </a:cubicBezTo>
                  <a:cubicBezTo>
                    <a:pt x="6101" y="26163"/>
                    <a:pt x="6139" y="26163"/>
                    <a:pt x="6230" y="26159"/>
                  </a:cubicBezTo>
                  <a:cubicBezTo>
                    <a:pt x="6276" y="26158"/>
                    <a:pt x="6335" y="26156"/>
                    <a:pt x="6407" y="26154"/>
                  </a:cubicBezTo>
                  <a:cubicBezTo>
                    <a:pt x="6487" y="26150"/>
                    <a:pt x="6580" y="26147"/>
                    <a:pt x="6688" y="26141"/>
                  </a:cubicBezTo>
                  <a:cubicBezTo>
                    <a:pt x="6868" y="26129"/>
                    <a:pt x="7073" y="26114"/>
                    <a:pt x="7294" y="26080"/>
                  </a:cubicBezTo>
                  <a:cubicBezTo>
                    <a:pt x="7514" y="26046"/>
                    <a:pt x="7750" y="25990"/>
                    <a:pt x="7958" y="25869"/>
                  </a:cubicBezTo>
                  <a:cubicBezTo>
                    <a:pt x="8162" y="25756"/>
                    <a:pt x="8375" y="25563"/>
                    <a:pt x="8513" y="25317"/>
                  </a:cubicBezTo>
                  <a:cubicBezTo>
                    <a:pt x="8650" y="25074"/>
                    <a:pt x="8735" y="24782"/>
                    <a:pt x="8720" y="24416"/>
                  </a:cubicBezTo>
                  <a:cubicBezTo>
                    <a:pt x="8724" y="24248"/>
                    <a:pt x="8728" y="24079"/>
                    <a:pt x="8732" y="23904"/>
                  </a:cubicBezTo>
                  <a:cubicBezTo>
                    <a:pt x="8732" y="23808"/>
                    <a:pt x="8732" y="23711"/>
                    <a:pt x="8733" y="23612"/>
                  </a:cubicBezTo>
                  <a:cubicBezTo>
                    <a:pt x="8733" y="23413"/>
                    <a:pt x="8733" y="23202"/>
                    <a:pt x="8733" y="22986"/>
                  </a:cubicBezTo>
                  <a:cubicBezTo>
                    <a:pt x="8734" y="22548"/>
                    <a:pt x="8735" y="22074"/>
                    <a:pt x="8736" y="21563"/>
                  </a:cubicBezTo>
                  <a:cubicBezTo>
                    <a:pt x="8737" y="20545"/>
                    <a:pt x="8738" y="19384"/>
                    <a:pt x="8740" y="18107"/>
                  </a:cubicBezTo>
                  <a:cubicBezTo>
                    <a:pt x="8740" y="17948"/>
                    <a:pt x="8740" y="17788"/>
                    <a:pt x="8740" y="17624"/>
                  </a:cubicBezTo>
                  <a:cubicBezTo>
                    <a:pt x="8740" y="17543"/>
                    <a:pt x="8740" y="17460"/>
                    <a:pt x="8740" y="17378"/>
                  </a:cubicBezTo>
                  <a:cubicBezTo>
                    <a:pt x="8741" y="17270"/>
                    <a:pt x="8741" y="17270"/>
                    <a:pt x="8741" y="17270"/>
                  </a:cubicBezTo>
                  <a:cubicBezTo>
                    <a:pt x="8741" y="17243"/>
                    <a:pt x="8743" y="17214"/>
                    <a:pt x="8744" y="17187"/>
                  </a:cubicBezTo>
                  <a:cubicBezTo>
                    <a:pt x="8755" y="16964"/>
                    <a:pt x="8800" y="16740"/>
                    <a:pt x="8882" y="16522"/>
                  </a:cubicBezTo>
                  <a:cubicBezTo>
                    <a:pt x="9042" y="16087"/>
                    <a:pt x="9355" y="15680"/>
                    <a:pt x="9773" y="15408"/>
                  </a:cubicBezTo>
                  <a:cubicBezTo>
                    <a:pt x="9980" y="15273"/>
                    <a:pt x="10212" y="15170"/>
                    <a:pt x="10456" y="15112"/>
                  </a:cubicBezTo>
                  <a:cubicBezTo>
                    <a:pt x="10578" y="15083"/>
                    <a:pt x="10703" y="15063"/>
                    <a:pt x="10829" y="15056"/>
                  </a:cubicBezTo>
                  <a:cubicBezTo>
                    <a:pt x="10942" y="15051"/>
                    <a:pt x="11122" y="15054"/>
                    <a:pt x="11276" y="15063"/>
                  </a:cubicBezTo>
                  <a:cubicBezTo>
                    <a:pt x="11911" y="15107"/>
                    <a:pt x="12556" y="15283"/>
                    <a:pt x="13197" y="15584"/>
                  </a:cubicBezTo>
                  <a:cubicBezTo>
                    <a:pt x="13839" y="15886"/>
                    <a:pt x="14472" y="16307"/>
                    <a:pt x="15098" y="16805"/>
                  </a:cubicBezTo>
                  <a:cubicBezTo>
                    <a:pt x="15724" y="17299"/>
                    <a:pt x="16340" y="17869"/>
                    <a:pt x="16981" y="18468"/>
                  </a:cubicBezTo>
                  <a:cubicBezTo>
                    <a:pt x="17301" y="18769"/>
                    <a:pt x="17628" y="19075"/>
                    <a:pt x="17971" y="19385"/>
                  </a:cubicBezTo>
                  <a:cubicBezTo>
                    <a:pt x="18303" y="19681"/>
                    <a:pt x="18637" y="19978"/>
                    <a:pt x="18973" y="20280"/>
                  </a:cubicBezTo>
                  <a:cubicBezTo>
                    <a:pt x="19637" y="20878"/>
                    <a:pt x="20310" y="21500"/>
                    <a:pt x="21041" y="22112"/>
                  </a:cubicBezTo>
                  <a:cubicBezTo>
                    <a:pt x="21778" y="22725"/>
                    <a:pt x="22570" y="23339"/>
                    <a:pt x="23533" y="23824"/>
                  </a:cubicBezTo>
                  <a:cubicBezTo>
                    <a:pt x="24015" y="24064"/>
                    <a:pt x="24542" y="24264"/>
                    <a:pt x="25108" y="24382"/>
                  </a:cubicBezTo>
                  <a:cubicBezTo>
                    <a:pt x="25671" y="24499"/>
                    <a:pt x="26269" y="24528"/>
                    <a:pt x="26848" y="24457"/>
                  </a:cubicBezTo>
                  <a:cubicBezTo>
                    <a:pt x="27427" y="24387"/>
                    <a:pt x="27981" y="24221"/>
                    <a:pt x="28486" y="24005"/>
                  </a:cubicBezTo>
                  <a:cubicBezTo>
                    <a:pt x="28992" y="23787"/>
                    <a:pt x="29451" y="23520"/>
                    <a:pt x="29878" y="23237"/>
                  </a:cubicBezTo>
                  <a:cubicBezTo>
                    <a:pt x="30730" y="22663"/>
                    <a:pt x="31464" y="22025"/>
                    <a:pt x="32166" y="21397"/>
                  </a:cubicBezTo>
                  <a:cubicBezTo>
                    <a:pt x="32866" y="20766"/>
                    <a:pt x="33533" y="20139"/>
                    <a:pt x="34204" y="19542"/>
                  </a:cubicBezTo>
                  <a:cubicBezTo>
                    <a:pt x="34915" y="18906"/>
                    <a:pt x="35557" y="18267"/>
                    <a:pt x="36202" y="17676"/>
                  </a:cubicBezTo>
                  <a:cubicBezTo>
                    <a:pt x="36845" y="17086"/>
                    <a:pt x="37487" y="16544"/>
                    <a:pt x="38150" y="16096"/>
                  </a:cubicBezTo>
                  <a:cubicBezTo>
                    <a:pt x="38813" y="15649"/>
                    <a:pt x="39496" y="15305"/>
                    <a:pt x="40189" y="15114"/>
                  </a:cubicBezTo>
                  <a:cubicBezTo>
                    <a:pt x="40535" y="15018"/>
                    <a:pt x="40883" y="14959"/>
                    <a:pt x="41231" y="14937"/>
                  </a:cubicBezTo>
                  <a:cubicBezTo>
                    <a:pt x="41318" y="14932"/>
                    <a:pt x="41406" y="14928"/>
                    <a:pt x="41491" y="14928"/>
                  </a:cubicBezTo>
                  <a:cubicBezTo>
                    <a:pt x="41564" y="14928"/>
                    <a:pt x="41637" y="14930"/>
                    <a:pt x="41709" y="14937"/>
                  </a:cubicBezTo>
                  <a:cubicBezTo>
                    <a:pt x="41852" y="14950"/>
                    <a:pt x="41994" y="14975"/>
                    <a:pt x="42131" y="15015"/>
                  </a:cubicBezTo>
                  <a:cubicBezTo>
                    <a:pt x="42684" y="15172"/>
                    <a:pt x="43172" y="15548"/>
                    <a:pt x="43477" y="16024"/>
                  </a:cubicBezTo>
                  <a:cubicBezTo>
                    <a:pt x="43631" y="16262"/>
                    <a:pt x="43741" y="16524"/>
                    <a:pt x="43802" y="16791"/>
                  </a:cubicBezTo>
                  <a:cubicBezTo>
                    <a:pt x="43833" y="16924"/>
                    <a:pt x="43853" y="17061"/>
                    <a:pt x="43861" y="17196"/>
                  </a:cubicBezTo>
                  <a:cubicBezTo>
                    <a:pt x="43863" y="17234"/>
                    <a:pt x="43863" y="17258"/>
                    <a:pt x="43864" y="17297"/>
                  </a:cubicBezTo>
                  <a:cubicBezTo>
                    <a:pt x="43865" y="17438"/>
                    <a:pt x="43865" y="17438"/>
                    <a:pt x="43865" y="17438"/>
                  </a:cubicBezTo>
                  <a:cubicBezTo>
                    <a:pt x="43866" y="17532"/>
                    <a:pt x="43867" y="17626"/>
                    <a:pt x="43869" y="17719"/>
                  </a:cubicBezTo>
                  <a:cubicBezTo>
                    <a:pt x="43876" y="18468"/>
                    <a:pt x="43883" y="19192"/>
                    <a:pt x="43890" y="19897"/>
                  </a:cubicBezTo>
                  <a:cubicBezTo>
                    <a:pt x="43894" y="20247"/>
                    <a:pt x="43898" y="20593"/>
                    <a:pt x="43901" y="20934"/>
                  </a:cubicBezTo>
                  <a:cubicBezTo>
                    <a:pt x="43905" y="21104"/>
                    <a:pt x="43907" y="21271"/>
                    <a:pt x="43908" y="21437"/>
                  </a:cubicBezTo>
                  <a:cubicBezTo>
                    <a:pt x="43910" y="21574"/>
                    <a:pt x="43910" y="21574"/>
                    <a:pt x="43910" y="21574"/>
                  </a:cubicBezTo>
                  <a:cubicBezTo>
                    <a:pt x="43910" y="21630"/>
                    <a:pt x="43913" y="21686"/>
                    <a:pt x="43917" y="21744"/>
                  </a:cubicBezTo>
                  <a:cubicBezTo>
                    <a:pt x="43926" y="21855"/>
                    <a:pt x="43939" y="21967"/>
                    <a:pt x="43958" y="22075"/>
                  </a:cubicBezTo>
                  <a:cubicBezTo>
                    <a:pt x="44033" y="22514"/>
                    <a:pt x="44192" y="22912"/>
                    <a:pt x="44390" y="23260"/>
                  </a:cubicBezTo>
                  <a:cubicBezTo>
                    <a:pt x="44588" y="23608"/>
                    <a:pt x="44824" y="23907"/>
                    <a:pt x="45077" y="24167"/>
                  </a:cubicBezTo>
                  <a:cubicBezTo>
                    <a:pt x="45584" y="24686"/>
                    <a:pt x="46146" y="25056"/>
                    <a:pt x="46712" y="25326"/>
                  </a:cubicBezTo>
                  <a:cubicBezTo>
                    <a:pt x="47278" y="25595"/>
                    <a:pt x="47852" y="25763"/>
                    <a:pt x="48413" y="25839"/>
                  </a:cubicBezTo>
                  <a:cubicBezTo>
                    <a:pt x="48562" y="25858"/>
                    <a:pt x="48710" y="25871"/>
                    <a:pt x="48858" y="25878"/>
                  </a:cubicBezTo>
                  <a:cubicBezTo>
                    <a:pt x="48933" y="25880"/>
                    <a:pt x="49007" y="25882"/>
                    <a:pt x="49081" y="25882"/>
                  </a:cubicBezTo>
                  <a:cubicBezTo>
                    <a:pt x="49145" y="25880"/>
                    <a:pt x="49208" y="25880"/>
                    <a:pt x="49272" y="25878"/>
                  </a:cubicBezTo>
                  <a:cubicBezTo>
                    <a:pt x="49518" y="25873"/>
                    <a:pt x="49758" y="25864"/>
                    <a:pt x="49996" y="25851"/>
                  </a:cubicBezTo>
                  <a:cubicBezTo>
                    <a:pt x="50116" y="25846"/>
                    <a:pt x="50234" y="25837"/>
                    <a:pt x="50353" y="25828"/>
                  </a:cubicBezTo>
                  <a:cubicBezTo>
                    <a:pt x="50540" y="25815"/>
                    <a:pt x="50733" y="25797"/>
                    <a:pt x="50914" y="25770"/>
                  </a:cubicBezTo>
                  <a:cubicBezTo>
                    <a:pt x="51096" y="25741"/>
                    <a:pt x="51270" y="25700"/>
                    <a:pt x="51422" y="25631"/>
                  </a:cubicBezTo>
                  <a:cubicBezTo>
                    <a:pt x="51498" y="25597"/>
                    <a:pt x="51568" y="25557"/>
                    <a:pt x="51635" y="25510"/>
                  </a:cubicBezTo>
                  <a:cubicBezTo>
                    <a:pt x="51702" y="25460"/>
                    <a:pt x="51764" y="25402"/>
                    <a:pt x="51819" y="25339"/>
                  </a:cubicBezTo>
                  <a:cubicBezTo>
                    <a:pt x="51929" y="25209"/>
                    <a:pt x="52001" y="25060"/>
                    <a:pt x="52046" y="24904"/>
                  </a:cubicBezTo>
                  <a:cubicBezTo>
                    <a:pt x="52067" y="24827"/>
                    <a:pt x="52084" y="24746"/>
                    <a:pt x="52094" y="24663"/>
                  </a:cubicBezTo>
                  <a:cubicBezTo>
                    <a:pt x="52107" y="24580"/>
                    <a:pt x="52102" y="24488"/>
                    <a:pt x="52103" y="24401"/>
                  </a:cubicBezTo>
                  <a:cubicBezTo>
                    <a:pt x="52105" y="24234"/>
                    <a:pt x="52117" y="4327"/>
                    <a:pt x="52107" y="4115"/>
                  </a:cubicBezTo>
                  <a:close/>
                  <a:moveTo>
                    <a:pt x="50669" y="23321"/>
                  </a:moveTo>
                  <a:cubicBezTo>
                    <a:pt x="50668" y="23480"/>
                    <a:pt x="50666" y="23637"/>
                    <a:pt x="50665" y="23797"/>
                  </a:cubicBezTo>
                  <a:cubicBezTo>
                    <a:pt x="50663" y="23970"/>
                    <a:pt x="50663" y="23970"/>
                    <a:pt x="50663" y="23970"/>
                  </a:cubicBezTo>
                  <a:cubicBezTo>
                    <a:pt x="50661" y="24059"/>
                    <a:pt x="50661" y="24059"/>
                    <a:pt x="50661" y="24059"/>
                  </a:cubicBezTo>
                  <a:cubicBezTo>
                    <a:pt x="50659" y="24118"/>
                    <a:pt x="50661" y="24180"/>
                    <a:pt x="50634" y="24234"/>
                  </a:cubicBezTo>
                  <a:cubicBezTo>
                    <a:pt x="50620" y="24259"/>
                    <a:pt x="50598" y="24281"/>
                    <a:pt x="50571" y="24293"/>
                  </a:cubicBezTo>
                  <a:cubicBezTo>
                    <a:pt x="50544" y="24306"/>
                    <a:pt x="50513" y="24311"/>
                    <a:pt x="50484" y="24315"/>
                  </a:cubicBezTo>
                  <a:cubicBezTo>
                    <a:pt x="50425" y="24324"/>
                    <a:pt x="50365" y="24327"/>
                    <a:pt x="50306" y="24329"/>
                  </a:cubicBezTo>
                  <a:cubicBezTo>
                    <a:pt x="50132" y="24338"/>
                    <a:pt x="50132" y="24338"/>
                    <a:pt x="50132" y="24338"/>
                  </a:cubicBezTo>
                  <a:cubicBezTo>
                    <a:pt x="49896" y="24346"/>
                    <a:pt x="49896" y="24346"/>
                    <a:pt x="49896" y="24346"/>
                  </a:cubicBezTo>
                  <a:cubicBezTo>
                    <a:pt x="49737" y="24349"/>
                    <a:pt x="49577" y="24351"/>
                    <a:pt x="49415" y="24351"/>
                  </a:cubicBezTo>
                  <a:cubicBezTo>
                    <a:pt x="49173" y="24351"/>
                    <a:pt x="49173" y="24351"/>
                    <a:pt x="49173" y="24351"/>
                  </a:cubicBezTo>
                  <a:cubicBezTo>
                    <a:pt x="49062" y="24349"/>
                    <a:pt x="49062" y="24349"/>
                    <a:pt x="49062" y="24349"/>
                  </a:cubicBezTo>
                  <a:cubicBezTo>
                    <a:pt x="49029" y="24349"/>
                    <a:pt x="48995" y="24346"/>
                    <a:pt x="48961" y="24344"/>
                  </a:cubicBezTo>
                  <a:cubicBezTo>
                    <a:pt x="48419" y="24311"/>
                    <a:pt x="47848" y="24138"/>
                    <a:pt x="47329" y="23862"/>
                  </a:cubicBezTo>
                  <a:cubicBezTo>
                    <a:pt x="46810" y="23588"/>
                    <a:pt x="46335" y="23206"/>
                    <a:pt x="46009" y="22755"/>
                  </a:cubicBezTo>
                  <a:cubicBezTo>
                    <a:pt x="45845" y="22532"/>
                    <a:pt x="45721" y="22290"/>
                    <a:pt x="45648" y="22048"/>
                  </a:cubicBezTo>
                  <a:cubicBezTo>
                    <a:pt x="45613" y="21926"/>
                    <a:pt x="45591" y="21803"/>
                    <a:pt x="45582" y="21681"/>
                  </a:cubicBezTo>
                  <a:cubicBezTo>
                    <a:pt x="45578" y="21650"/>
                    <a:pt x="45578" y="21619"/>
                    <a:pt x="45576" y="21589"/>
                  </a:cubicBezTo>
                  <a:cubicBezTo>
                    <a:pt x="45576" y="21480"/>
                    <a:pt x="45576" y="21480"/>
                    <a:pt x="45576" y="21480"/>
                  </a:cubicBezTo>
                  <a:cubicBezTo>
                    <a:pt x="45578" y="21214"/>
                    <a:pt x="45578" y="21214"/>
                    <a:pt x="45578" y="21214"/>
                  </a:cubicBezTo>
                  <a:cubicBezTo>
                    <a:pt x="45582" y="20498"/>
                    <a:pt x="45587" y="19773"/>
                    <a:pt x="45593" y="19043"/>
                  </a:cubicBezTo>
                  <a:cubicBezTo>
                    <a:pt x="45594" y="18678"/>
                    <a:pt x="45597" y="18311"/>
                    <a:pt x="45600" y="17941"/>
                  </a:cubicBezTo>
                  <a:cubicBezTo>
                    <a:pt x="45601" y="17757"/>
                    <a:pt x="45602" y="17571"/>
                    <a:pt x="45603" y="17386"/>
                  </a:cubicBezTo>
                  <a:cubicBezTo>
                    <a:pt x="45603" y="17236"/>
                    <a:pt x="45603" y="17236"/>
                    <a:pt x="45603" y="17236"/>
                  </a:cubicBezTo>
                  <a:cubicBezTo>
                    <a:pt x="45603" y="17177"/>
                    <a:pt x="45600" y="17119"/>
                    <a:pt x="45598" y="17061"/>
                  </a:cubicBezTo>
                  <a:cubicBezTo>
                    <a:pt x="45592" y="16946"/>
                    <a:pt x="45580" y="16832"/>
                    <a:pt x="45565" y="16719"/>
                  </a:cubicBezTo>
                  <a:cubicBezTo>
                    <a:pt x="45441" y="15801"/>
                    <a:pt x="44998" y="14926"/>
                    <a:pt x="44320" y="14275"/>
                  </a:cubicBezTo>
                  <a:cubicBezTo>
                    <a:pt x="44006" y="13971"/>
                    <a:pt x="43627" y="13700"/>
                    <a:pt x="43192" y="13496"/>
                  </a:cubicBezTo>
                  <a:cubicBezTo>
                    <a:pt x="42756" y="13293"/>
                    <a:pt x="42264" y="13156"/>
                    <a:pt x="41746" y="13121"/>
                  </a:cubicBezTo>
                  <a:cubicBezTo>
                    <a:pt x="41476" y="13105"/>
                    <a:pt x="41250" y="13112"/>
                    <a:pt x="41005" y="13127"/>
                  </a:cubicBezTo>
                  <a:cubicBezTo>
                    <a:pt x="40762" y="13143"/>
                    <a:pt x="40518" y="13172"/>
                    <a:pt x="40273" y="13217"/>
                  </a:cubicBezTo>
                  <a:cubicBezTo>
                    <a:pt x="39783" y="13302"/>
                    <a:pt x="39294" y="13446"/>
                    <a:pt x="38820" y="13635"/>
                  </a:cubicBezTo>
                  <a:cubicBezTo>
                    <a:pt x="37870" y="14016"/>
                    <a:pt x="36994" y="14578"/>
                    <a:pt x="36186" y="15204"/>
                  </a:cubicBezTo>
                  <a:cubicBezTo>
                    <a:pt x="35377" y="15833"/>
                    <a:pt x="34631" y="16529"/>
                    <a:pt x="33901" y="17207"/>
                  </a:cubicBezTo>
                  <a:cubicBezTo>
                    <a:pt x="33719" y="17373"/>
                    <a:pt x="33537" y="17541"/>
                    <a:pt x="33355" y="17708"/>
                  </a:cubicBezTo>
                  <a:cubicBezTo>
                    <a:pt x="33083" y="17952"/>
                    <a:pt x="33083" y="17952"/>
                    <a:pt x="33083" y="17952"/>
                  </a:cubicBezTo>
                  <a:cubicBezTo>
                    <a:pt x="32806" y="18195"/>
                    <a:pt x="32806" y="18195"/>
                    <a:pt x="32806" y="18195"/>
                  </a:cubicBezTo>
                  <a:cubicBezTo>
                    <a:pt x="32425" y="18531"/>
                    <a:pt x="32051" y="18868"/>
                    <a:pt x="31681" y="19200"/>
                  </a:cubicBezTo>
                  <a:cubicBezTo>
                    <a:pt x="30943" y="19861"/>
                    <a:pt x="30223" y="20509"/>
                    <a:pt x="29505" y="21060"/>
                  </a:cubicBezTo>
                  <a:cubicBezTo>
                    <a:pt x="28788" y="21610"/>
                    <a:pt x="28065" y="22057"/>
                    <a:pt x="27369" y="22286"/>
                  </a:cubicBezTo>
                  <a:cubicBezTo>
                    <a:pt x="26674" y="22519"/>
                    <a:pt x="26011" y="22524"/>
                    <a:pt x="25398" y="22368"/>
                  </a:cubicBezTo>
                  <a:cubicBezTo>
                    <a:pt x="24487" y="22137"/>
                    <a:pt x="23581" y="21531"/>
                    <a:pt x="22709" y="20821"/>
                  </a:cubicBezTo>
                  <a:cubicBezTo>
                    <a:pt x="21834" y="20107"/>
                    <a:pt x="20977" y="19286"/>
                    <a:pt x="20080" y="18475"/>
                  </a:cubicBezTo>
                  <a:cubicBezTo>
                    <a:pt x="19858" y="18275"/>
                    <a:pt x="19635" y="18073"/>
                    <a:pt x="19412" y="17873"/>
                  </a:cubicBezTo>
                  <a:cubicBezTo>
                    <a:pt x="19197" y="17678"/>
                    <a:pt x="18983" y="17476"/>
                    <a:pt x="18766" y="17272"/>
                  </a:cubicBezTo>
                  <a:cubicBezTo>
                    <a:pt x="18332" y="16861"/>
                    <a:pt x="17891" y="16439"/>
                    <a:pt x="17428" y="16023"/>
                  </a:cubicBezTo>
                  <a:cubicBezTo>
                    <a:pt x="16965" y="15604"/>
                    <a:pt x="16481" y="15191"/>
                    <a:pt x="15959" y="14804"/>
                  </a:cubicBezTo>
                  <a:cubicBezTo>
                    <a:pt x="15438" y="14416"/>
                    <a:pt x="14878" y="14052"/>
                    <a:pt x="14267" y="13745"/>
                  </a:cubicBezTo>
                  <a:cubicBezTo>
                    <a:pt x="13657" y="13441"/>
                    <a:pt x="12993" y="13195"/>
                    <a:pt x="12295" y="13055"/>
                  </a:cubicBezTo>
                  <a:cubicBezTo>
                    <a:pt x="11946" y="12984"/>
                    <a:pt x="11589" y="12941"/>
                    <a:pt x="11231" y="12925"/>
                  </a:cubicBezTo>
                  <a:cubicBezTo>
                    <a:pt x="11142" y="12921"/>
                    <a:pt x="11052" y="12919"/>
                    <a:pt x="10963" y="12919"/>
                  </a:cubicBezTo>
                  <a:cubicBezTo>
                    <a:pt x="10865" y="12919"/>
                    <a:pt x="10763" y="12921"/>
                    <a:pt x="10663" y="12928"/>
                  </a:cubicBezTo>
                  <a:cubicBezTo>
                    <a:pt x="10462" y="12941"/>
                    <a:pt x="10262" y="12968"/>
                    <a:pt x="10065" y="13010"/>
                  </a:cubicBezTo>
                  <a:cubicBezTo>
                    <a:pt x="9275" y="13174"/>
                    <a:pt x="8542" y="13569"/>
                    <a:pt x="7966" y="14119"/>
                  </a:cubicBezTo>
                  <a:cubicBezTo>
                    <a:pt x="7387" y="14667"/>
                    <a:pt x="6959" y="15375"/>
                    <a:pt x="6746" y="16152"/>
                  </a:cubicBezTo>
                  <a:cubicBezTo>
                    <a:pt x="6692" y="16345"/>
                    <a:pt x="6652" y="16544"/>
                    <a:pt x="6626" y="16744"/>
                  </a:cubicBezTo>
                  <a:cubicBezTo>
                    <a:pt x="6614" y="16843"/>
                    <a:pt x="6603" y="16942"/>
                    <a:pt x="6597" y="17043"/>
                  </a:cubicBezTo>
                  <a:cubicBezTo>
                    <a:pt x="6593" y="17094"/>
                    <a:pt x="6593" y="17144"/>
                    <a:pt x="6591" y="17195"/>
                  </a:cubicBezTo>
                  <a:cubicBezTo>
                    <a:pt x="6589" y="17335"/>
                    <a:pt x="6589" y="17335"/>
                    <a:pt x="6589" y="17335"/>
                  </a:cubicBezTo>
                  <a:cubicBezTo>
                    <a:pt x="6586" y="18257"/>
                    <a:pt x="6586" y="18257"/>
                    <a:pt x="6586" y="18257"/>
                  </a:cubicBezTo>
                  <a:cubicBezTo>
                    <a:pt x="6584" y="18871"/>
                    <a:pt x="6582" y="19486"/>
                    <a:pt x="6579" y="20101"/>
                  </a:cubicBezTo>
                  <a:cubicBezTo>
                    <a:pt x="6576" y="21331"/>
                    <a:pt x="6572" y="22562"/>
                    <a:pt x="6569" y="23796"/>
                  </a:cubicBezTo>
                  <a:cubicBezTo>
                    <a:pt x="6568" y="23909"/>
                    <a:pt x="6568" y="23909"/>
                    <a:pt x="6568" y="23909"/>
                  </a:cubicBezTo>
                  <a:cubicBezTo>
                    <a:pt x="6568" y="23938"/>
                    <a:pt x="6568" y="23938"/>
                    <a:pt x="6568" y="23938"/>
                  </a:cubicBezTo>
                  <a:cubicBezTo>
                    <a:pt x="6568" y="23940"/>
                    <a:pt x="6568" y="23940"/>
                    <a:pt x="6568" y="23940"/>
                  </a:cubicBezTo>
                  <a:cubicBezTo>
                    <a:pt x="6567" y="23951"/>
                    <a:pt x="6567" y="23951"/>
                    <a:pt x="6567" y="23951"/>
                  </a:cubicBezTo>
                  <a:cubicBezTo>
                    <a:pt x="6567" y="23956"/>
                    <a:pt x="6567" y="23963"/>
                    <a:pt x="6564" y="23970"/>
                  </a:cubicBezTo>
                  <a:cubicBezTo>
                    <a:pt x="6557" y="23983"/>
                    <a:pt x="6540" y="23980"/>
                    <a:pt x="6529" y="23981"/>
                  </a:cubicBezTo>
                  <a:cubicBezTo>
                    <a:pt x="6524" y="23981"/>
                    <a:pt x="6524" y="23981"/>
                    <a:pt x="6524" y="23981"/>
                  </a:cubicBezTo>
                  <a:cubicBezTo>
                    <a:pt x="6518" y="23981"/>
                    <a:pt x="6536" y="23980"/>
                    <a:pt x="6487" y="23983"/>
                  </a:cubicBezTo>
                  <a:cubicBezTo>
                    <a:pt x="6275" y="23992"/>
                    <a:pt x="6275" y="23992"/>
                    <a:pt x="6275" y="23992"/>
                  </a:cubicBezTo>
                  <a:cubicBezTo>
                    <a:pt x="6131" y="23996"/>
                    <a:pt x="5985" y="23999"/>
                    <a:pt x="5838" y="23999"/>
                  </a:cubicBezTo>
                  <a:cubicBezTo>
                    <a:pt x="5390" y="24001"/>
                    <a:pt x="5390" y="24001"/>
                    <a:pt x="5390" y="24001"/>
                  </a:cubicBezTo>
                  <a:cubicBezTo>
                    <a:pt x="5282" y="23999"/>
                    <a:pt x="5282" y="23999"/>
                    <a:pt x="5282" y="23999"/>
                  </a:cubicBezTo>
                  <a:cubicBezTo>
                    <a:pt x="5255" y="23999"/>
                    <a:pt x="5228" y="23999"/>
                    <a:pt x="5200" y="23998"/>
                  </a:cubicBezTo>
                  <a:cubicBezTo>
                    <a:pt x="5145" y="23996"/>
                    <a:pt x="5089" y="23990"/>
                    <a:pt x="5033" y="23985"/>
                  </a:cubicBezTo>
                  <a:cubicBezTo>
                    <a:pt x="4130" y="23895"/>
                    <a:pt x="3150" y="23366"/>
                    <a:pt x="2606" y="22670"/>
                  </a:cubicBezTo>
                  <a:cubicBezTo>
                    <a:pt x="2332" y="22323"/>
                    <a:pt x="2181" y="21951"/>
                    <a:pt x="2167" y="21605"/>
                  </a:cubicBezTo>
                  <a:cubicBezTo>
                    <a:pt x="2167" y="21008"/>
                    <a:pt x="2167" y="20413"/>
                    <a:pt x="2168" y="19818"/>
                  </a:cubicBezTo>
                  <a:cubicBezTo>
                    <a:pt x="2170" y="18592"/>
                    <a:pt x="2172" y="17368"/>
                    <a:pt x="2175" y="16149"/>
                  </a:cubicBezTo>
                  <a:cubicBezTo>
                    <a:pt x="2179" y="11420"/>
                    <a:pt x="2188" y="2224"/>
                    <a:pt x="2188" y="2163"/>
                  </a:cubicBezTo>
                  <a:cubicBezTo>
                    <a:pt x="2188" y="2102"/>
                    <a:pt x="2227" y="2106"/>
                    <a:pt x="2247" y="2106"/>
                  </a:cubicBezTo>
                  <a:cubicBezTo>
                    <a:pt x="2268" y="2106"/>
                    <a:pt x="4395" y="2105"/>
                    <a:pt x="5458" y="2105"/>
                  </a:cubicBezTo>
                  <a:cubicBezTo>
                    <a:pt x="5646" y="2106"/>
                    <a:pt x="5838" y="2106"/>
                    <a:pt x="6032" y="2106"/>
                  </a:cubicBezTo>
                  <a:cubicBezTo>
                    <a:pt x="6244" y="2106"/>
                    <a:pt x="6377" y="2107"/>
                    <a:pt x="6551" y="2122"/>
                  </a:cubicBezTo>
                  <a:cubicBezTo>
                    <a:pt x="6882" y="2148"/>
                    <a:pt x="7220" y="2206"/>
                    <a:pt x="7556" y="2300"/>
                  </a:cubicBezTo>
                  <a:cubicBezTo>
                    <a:pt x="8228" y="2488"/>
                    <a:pt x="8896" y="2825"/>
                    <a:pt x="9478" y="3304"/>
                  </a:cubicBezTo>
                  <a:cubicBezTo>
                    <a:pt x="9551" y="3363"/>
                    <a:pt x="9623" y="3426"/>
                    <a:pt x="9691" y="3488"/>
                  </a:cubicBezTo>
                  <a:cubicBezTo>
                    <a:pt x="9772" y="3564"/>
                    <a:pt x="9854" y="3640"/>
                    <a:pt x="9935" y="3717"/>
                  </a:cubicBezTo>
                  <a:cubicBezTo>
                    <a:pt x="10104" y="3873"/>
                    <a:pt x="10273" y="4033"/>
                    <a:pt x="10443" y="4193"/>
                  </a:cubicBezTo>
                  <a:cubicBezTo>
                    <a:pt x="10784" y="4511"/>
                    <a:pt x="11128" y="4832"/>
                    <a:pt x="11473" y="5155"/>
                  </a:cubicBezTo>
                  <a:cubicBezTo>
                    <a:pt x="12165" y="5801"/>
                    <a:pt x="12864" y="6453"/>
                    <a:pt x="13560" y="7102"/>
                  </a:cubicBezTo>
                  <a:cubicBezTo>
                    <a:pt x="13908" y="7426"/>
                    <a:pt x="14255" y="7750"/>
                    <a:pt x="14600" y="8071"/>
                  </a:cubicBezTo>
                  <a:cubicBezTo>
                    <a:pt x="14772" y="8231"/>
                    <a:pt x="14944" y="8391"/>
                    <a:pt x="15116" y="8551"/>
                  </a:cubicBezTo>
                  <a:cubicBezTo>
                    <a:pt x="15244" y="8670"/>
                    <a:pt x="15244" y="8670"/>
                    <a:pt x="15244" y="8670"/>
                  </a:cubicBezTo>
                  <a:cubicBezTo>
                    <a:pt x="15301" y="8723"/>
                    <a:pt x="15301" y="8723"/>
                    <a:pt x="15301" y="8723"/>
                  </a:cubicBezTo>
                  <a:cubicBezTo>
                    <a:pt x="15318" y="8739"/>
                    <a:pt x="15318" y="8739"/>
                    <a:pt x="15318" y="8739"/>
                  </a:cubicBezTo>
                  <a:cubicBezTo>
                    <a:pt x="15351" y="8772"/>
                    <a:pt x="15351" y="8772"/>
                    <a:pt x="15351" y="8772"/>
                  </a:cubicBezTo>
                  <a:cubicBezTo>
                    <a:pt x="15442" y="8861"/>
                    <a:pt x="15532" y="8946"/>
                    <a:pt x="15624" y="9032"/>
                  </a:cubicBezTo>
                  <a:cubicBezTo>
                    <a:pt x="16357" y="9713"/>
                    <a:pt x="17145" y="10301"/>
                    <a:pt x="17946" y="10792"/>
                  </a:cubicBezTo>
                  <a:cubicBezTo>
                    <a:pt x="19552" y="11776"/>
                    <a:pt x="21206" y="12352"/>
                    <a:pt x="22616" y="12654"/>
                  </a:cubicBezTo>
                  <a:cubicBezTo>
                    <a:pt x="22620" y="12654"/>
                    <a:pt x="22660" y="12663"/>
                    <a:pt x="22735" y="12680"/>
                  </a:cubicBezTo>
                  <a:cubicBezTo>
                    <a:pt x="22809" y="12694"/>
                    <a:pt x="22916" y="12718"/>
                    <a:pt x="23055" y="12743"/>
                  </a:cubicBezTo>
                  <a:cubicBezTo>
                    <a:pt x="23331" y="12795"/>
                    <a:pt x="23730" y="12862"/>
                    <a:pt x="24225" y="12916"/>
                  </a:cubicBezTo>
                  <a:cubicBezTo>
                    <a:pt x="25215" y="13026"/>
                    <a:pt x="26592" y="13075"/>
                    <a:pt x="28112" y="12878"/>
                  </a:cubicBezTo>
                  <a:cubicBezTo>
                    <a:pt x="28869" y="12781"/>
                    <a:pt x="29661" y="12622"/>
                    <a:pt x="30447" y="12395"/>
                  </a:cubicBezTo>
                  <a:cubicBezTo>
                    <a:pt x="31233" y="12169"/>
                    <a:pt x="32011" y="11874"/>
                    <a:pt x="32746" y="11522"/>
                  </a:cubicBezTo>
                  <a:cubicBezTo>
                    <a:pt x="33479" y="11172"/>
                    <a:pt x="34170" y="10765"/>
                    <a:pt x="34787" y="10330"/>
                  </a:cubicBezTo>
                  <a:cubicBezTo>
                    <a:pt x="35405" y="9898"/>
                    <a:pt x="35952" y="9439"/>
                    <a:pt x="36413" y="8996"/>
                  </a:cubicBezTo>
                  <a:cubicBezTo>
                    <a:pt x="37120" y="8298"/>
                    <a:pt x="37819" y="7609"/>
                    <a:pt x="38498" y="6938"/>
                  </a:cubicBezTo>
                  <a:cubicBezTo>
                    <a:pt x="39184" y="6265"/>
                    <a:pt x="39853" y="5610"/>
                    <a:pt x="40493" y="4982"/>
                  </a:cubicBezTo>
                  <a:cubicBezTo>
                    <a:pt x="41761" y="3748"/>
                    <a:pt x="43790" y="1776"/>
                    <a:pt x="43890" y="1677"/>
                  </a:cubicBezTo>
                  <a:cubicBezTo>
                    <a:pt x="43989" y="1579"/>
                    <a:pt x="44113" y="1557"/>
                    <a:pt x="44185" y="1556"/>
                  </a:cubicBezTo>
                  <a:cubicBezTo>
                    <a:pt x="44258" y="1555"/>
                    <a:pt x="47396" y="1513"/>
                    <a:pt x="47465" y="1512"/>
                  </a:cubicBezTo>
                  <a:cubicBezTo>
                    <a:pt x="48234" y="1495"/>
                    <a:pt x="48888" y="1761"/>
                    <a:pt x="49367" y="2115"/>
                  </a:cubicBezTo>
                  <a:cubicBezTo>
                    <a:pt x="49846" y="2471"/>
                    <a:pt x="50150" y="2903"/>
                    <a:pt x="50331" y="3278"/>
                  </a:cubicBezTo>
                  <a:cubicBezTo>
                    <a:pt x="50515" y="3656"/>
                    <a:pt x="50584" y="3979"/>
                    <a:pt x="50623" y="4197"/>
                  </a:cubicBezTo>
                  <a:cubicBezTo>
                    <a:pt x="50660" y="4416"/>
                    <a:pt x="50654" y="4668"/>
                    <a:pt x="50640" y="4917"/>
                  </a:cubicBezTo>
                  <a:cubicBezTo>
                    <a:pt x="50624" y="5164"/>
                    <a:pt x="50715" y="18267"/>
                    <a:pt x="50669" y="23321"/>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6"/>
            <p:cNvSpPr>
              <a:spLocks/>
            </p:cNvSpPr>
            <p:nvPr userDrawn="1"/>
          </p:nvSpPr>
          <p:spPr bwMode="auto">
            <a:xfrm>
              <a:off x="-84872512" y="18689638"/>
              <a:ext cx="193840100" cy="97202625"/>
            </a:xfrm>
            <a:custGeom>
              <a:avLst/>
              <a:gdLst>
                <a:gd name="T0" fmla="*/ 51193 w 51688"/>
                <a:gd name="T1" fmla="*/ 12114 h 25918"/>
                <a:gd name="T2" fmla="*/ 50914 w 51688"/>
                <a:gd name="T3" fmla="*/ 20947 h 25918"/>
                <a:gd name="T4" fmla="*/ 50844 w 51688"/>
                <a:gd name="T5" fmla="*/ 23850 h 25918"/>
                <a:gd name="T6" fmla="*/ 50505 w 51688"/>
                <a:gd name="T7" fmla="*/ 24445 h 25918"/>
                <a:gd name="T8" fmla="*/ 48987 w 51688"/>
                <a:gd name="T9" fmla="*/ 24463 h 25918"/>
                <a:gd name="T10" fmla="*/ 45339 w 51688"/>
                <a:gd name="T11" fmla="*/ 21852 h 25918"/>
                <a:gd name="T12" fmla="*/ 45301 w 51688"/>
                <a:gd name="T13" fmla="*/ 21010 h 25918"/>
                <a:gd name="T14" fmla="*/ 45363 w 51688"/>
                <a:gd name="T15" fmla="*/ 17166 h 25918"/>
                <a:gd name="T16" fmla="*/ 43529 w 51688"/>
                <a:gd name="T17" fmla="*/ 13729 h 25918"/>
                <a:gd name="T18" fmla="*/ 37130 w 51688"/>
                <a:gd name="T19" fmla="*/ 14411 h 25918"/>
                <a:gd name="T20" fmla="*/ 30094 w 51688"/>
                <a:gd name="T21" fmla="*/ 20457 h 25918"/>
                <a:gd name="T22" fmla="*/ 23874 w 51688"/>
                <a:gd name="T23" fmla="*/ 21719 h 25918"/>
                <a:gd name="T24" fmla="*/ 17941 w 51688"/>
                <a:gd name="T25" fmla="*/ 16609 h 25918"/>
                <a:gd name="T26" fmla="*/ 10865 w 51688"/>
                <a:gd name="T27" fmla="*/ 12900 h 25918"/>
                <a:gd name="T28" fmla="*/ 6612 w 51688"/>
                <a:gd name="T29" fmla="*/ 16813 h 25918"/>
                <a:gd name="T30" fmla="*/ 6590 w 51688"/>
                <a:gd name="T31" fmla="*/ 20356 h 25918"/>
                <a:gd name="T32" fmla="*/ 6581 w 51688"/>
                <a:gd name="T33" fmla="*/ 23906 h 25918"/>
                <a:gd name="T34" fmla="*/ 6161 w 51688"/>
                <a:gd name="T35" fmla="*/ 23989 h 25918"/>
                <a:gd name="T36" fmla="*/ 4007 w 51688"/>
                <a:gd name="T37" fmla="*/ 23765 h 25918"/>
                <a:gd name="T38" fmla="*/ 1918 w 51688"/>
                <a:gd name="T39" fmla="*/ 21416 h 25918"/>
                <a:gd name="T40" fmla="*/ 1924 w 51688"/>
                <a:gd name="T41" fmla="*/ 17736 h 25918"/>
                <a:gd name="T42" fmla="*/ 2346 w 51688"/>
                <a:gd name="T43" fmla="*/ 1839 h 25918"/>
                <a:gd name="T44" fmla="*/ 6307 w 51688"/>
                <a:gd name="T45" fmla="*/ 1843 h 25918"/>
                <a:gd name="T46" fmla="*/ 9640 w 51688"/>
                <a:gd name="T47" fmla="*/ 3220 h 25918"/>
                <a:gd name="T48" fmla="*/ 15297 w 51688"/>
                <a:gd name="T49" fmla="*/ 8489 h 25918"/>
                <a:gd name="T50" fmla="*/ 15909 w 51688"/>
                <a:gd name="T51" fmla="*/ 9055 h 25918"/>
                <a:gd name="T52" fmla="*/ 24130 w 51688"/>
                <a:gd name="T53" fmla="*/ 12613 h 25918"/>
                <a:gd name="T54" fmla="*/ 35966 w 51688"/>
                <a:gd name="T55" fmla="*/ 8944 h 25918"/>
                <a:gd name="T56" fmla="*/ 43246 w 51688"/>
                <a:gd name="T57" fmla="*/ 1655 h 25918"/>
                <a:gd name="T58" fmla="*/ 43511 w 51688"/>
                <a:gd name="T59" fmla="*/ 1366 h 25918"/>
                <a:gd name="T60" fmla="*/ 44343 w 51688"/>
                <a:gd name="T61" fmla="*/ 896 h 25918"/>
                <a:gd name="T62" fmla="*/ 43670 w 51688"/>
                <a:gd name="T63" fmla="*/ 727 h 25918"/>
                <a:gd name="T64" fmla="*/ 41873 w 51688"/>
                <a:gd name="T65" fmla="*/ 2007 h 25918"/>
                <a:gd name="T66" fmla="*/ 34512 w 51688"/>
                <a:gd name="T67" fmla="*/ 8591 h 25918"/>
                <a:gd name="T68" fmla="*/ 18064 w 51688"/>
                <a:gd name="T69" fmla="*/ 8699 h 25918"/>
                <a:gd name="T70" fmla="*/ 16455 w 51688"/>
                <a:gd name="T71" fmla="*/ 7314 h 25918"/>
                <a:gd name="T72" fmla="*/ 11277 w 51688"/>
                <a:gd name="T73" fmla="*/ 2358 h 25918"/>
                <a:gd name="T74" fmla="*/ 9968 w 51688"/>
                <a:gd name="T75" fmla="*/ 1251 h 25918"/>
                <a:gd name="T76" fmla="*/ 6274 w 51688"/>
                <a:gd name="T77" fmla="*/ 41 h 25918"/>
                <a:gd name="T78" fmla="*/ 1317 w 51688"/>
                <a:gd name="T79" fmla="*/ 0 h 25918"/>
                <a:gd name="T80" fmla="*/ 93 w 51688"/>
                <a:gd name="T81" fmla="*/ 1809 h 25918"/>
                <a:gd name="T82" fmla="*/ 4 w 51688"/>
                <a:gd name="T83" fmla="*/ 20044 h 25918"/>
                <a:gd name="T84" fmla="*/ 1 w 51688"/>
                <a:gd name="T85" fmla="*/ 21517 h 25918"/>
                <a:gd name="T86" fmla="*/ 2071 w 51688"/>
                <a:gd name="T87" fmla="*/ 24909 h 25918"/>
                <a:gd name="T88" fmla="*/ 5413 w 51688"/>
                <a:gd name="T89" fmla="*/ 25918 h 25918"/>
                <a:gd name="T90" fmla="*/ 6643 w 51688"/>
                <a:gd name="T91" fmla="*/ 25888 h 25918"/>
                <a:gd name="T92" fmla="*/ 8425 w 51688"/>
                <a:gd name="T93" fmla="*/ 24824 h 25918"/>
                <a:gd name="T94" fmla="*/ 8503 w 51688"/>
                <a:gd name="T95" fmla="*/ 22556 h 25918"/>
                <a:gd name="T96" fmla="*/ 8881 w 51688"/>
                <a:gd name="T97" fmla="*/ 15895 h 25918"/>
                <a:gd name="T98" fmla="*/ 11106 w 51688"/>
                <a:gd name="T99" fmla="*/ 14804 h 25918"/>
                <a:gd name="T100" fmla="*/ 17572 w 51688"/>
                <a:gd name="T101" fmla="*/ 18816 h 25918"/>
                <a:gd name="T102" fmla="*/ 23192 w 51688"/>
                <a:gd name="T103" fmla="*/ 23423 h 25918"/>
                <a:gd name="T104" fmla="*/ 28379 w 51688"/>
                <a:gd name="T105" fmla="*/ 23720 h 25918"/>
                <a:gd name="T106" fmla="*/ 34070 w 51688"/>
                <a:gd name="T107" fmla="*/ 19236 h 25918"/>
                <a:gd name="T108" fmla="*/ 39540 w 51688"/>
                <a:gd name="T109" fmla="*/ 14993 h 25918"/>
                <a:gd name="T110" fmla="*/ 42326 w 51688"/>
                <a:gd name="T111" fmla="*/ 14813 h 25918"/>
                <a:gd name="T112" fmla="*/ 43945 w 51688"/>
                <a:gd name="T113" fmla="*/ 17822 h 25918"/>
                <a:gd name="T114" fmla="*/ 44003 w 51688"/>
                <a:gd name="T115" fmla="*/ 21414 h 25918"/>
                <a:gd name="T116" fmla="*/ 46894 w 51688"/>
                <a:gd name="T117" fmla="*/ 25058 h 25918"/>
                <a:gd name="T118" fmla="*/ 50155 w 51688"/>
                <a:gd name="T119" fmla="*/ 25408 h 25918"/>
                <a:gd name="T120" fmla="*/ 51516 w 51688"/>
                <a:gd name="T121" fmla="*/ 24937 h 25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688" h="25918">
                  <a:moveTo>
                    <a:pt x="51664" y="23906"/>
                  </a:moveTo>
                  <a:cubicBezTo>
                    <a:pt x="51635" y="23199"/>
                    <a:pt x="51608" y="22500"/>
                    <a:pt x="51578" y="21732"/>
                  </a:cubicBezTo>
                  <a:cubicBezTo>
                    <a:pt x="51484" y="19205"/>
                    <a:pt x="51403" y="14714"/>
                    <a:pt x="51323" y="12763"/>
                  </a:cubicBezTo>
                  <a:cubicBezTo>
                    <a:pt x="51279" y="11681"/>
                    <a:pt x="51235" y="11093"/>
                    <a:pt x="51193" y="12114"/>
                  </a:cubicBezTo>
                  <a:cubicBezTo>
                    <a:pt x="51175" y="12485"/>
                    <a:pt x="51163" y="12745"/>
                    <a:pt x="51144" y="13143"/>
                  </a:cubicBezTo>
                  <a:cubicBezTo>
                    <a:pt x="51083" y="14231"/>
                    <a:pt x="51046" y="17121"/>
                    <a:pt x="50983" y="18591"/>
                  </a:cubicBezTo>
                  <a:cubicBezTo>
                    <a:pt x="50979" y="18666"/>
                    <a:pt x="50977" y="18737"/>
                    <a:pt x="50975" y="18805"/>
                  </a:cubicBezTo>
                  <a:cubicBezTo>
                    <a:pt x="50955" y="19498"/>
                    <a:pt x="50936" y="20186"/>
                    <a:pt x="50914" y="20947"/>
                  </a:cubicBezTo>
                  <a:cubicBezTo>
                    <a:pt x="50910" y="21081"/>
                    <a:pt x="50907" y="21227"/>
                    <a:pt x="50903" y="21371"/>
                  </a:cubicBezTo>
                  <a:cubicBezTo>
                    <a:pt x="50891" y="21858"/>
                    <a:pt x="50880" y="22361"/>
                    <a:pt x="50867" y="22880"/>
                  </a:cubicBezTo>
                  <a:cubicBezTo>
                    <a:pt x="50860" y="23141"/>
                    <a:pt x="50854" y="23407"/>
                    <a:pt x="50847" y="23677"/>
                  </a:cubicBezTo>
                  <a:cubicBezTo>
                    <a:pt x="50846" y="23735"/>
                    <a:pt x="50845" y="23792"/>
                    <a:pt x="50844" y="23850"/>
                  </a:cubicBezTo>
                  <a:cubicBezTo>
                    <a:pt x="50842" y="23893"/>
                    <a:pt x="50840" y="23937"/>
                    <a:pt x="50838" y="23980"/>
                  </a:cubicBezTo>
                  <a:cubicBezTo>
                    <a:pt x="50835" y="24067"/>
                    <a:pt x="50836" y="24153"/>
                    <a:pt x="50817" y="24236"/>
                  </a:cubicBezTo>
                  <a:cubicBezTo>
                    <a:pt x="50800" y="24301"/>
                    <a:pt x="50763" y="24360"/>
                    <a:pt x="50703" y="24396"/>
                  </a:cubicBezTo>
                  <a:cubicBezTo>
                    <a:pt x="50644" y="24433"/>
                    <a:pt x="50571" y="24436"/>
                    <a:pt x="50505" y="24445"/>
                  </a:cubicBezTo>
                  <a:cubicBezTo>
                    <a:pt x="50435" y="24452"/>
                    <a:pt x="50366" y="24456"/>
                    <a:pt x="50297" y="24460"/>
                  </a:cubicBezTo>
                  <a:cubicBezTo>
                    <a:pt x="50213" y="24463"/>
                    <a:pt x="50126" y="24465"/>
                    <a:pt x="50040" y="24467"/>
                  </a:cubicBezTo>
                  <a:cubicBezTo>
                    <a:pt x="49814" y="24472"/>
                    <a:pt x="49582" y="24472"/>
                    <a:pt x="49345" y="24470"/>
                  </a:cubicBezTo>
                  <a:cubicBezTo>
                    <a:pt x="49226" y="24469"/>
                    <a:pt x="49107" y="24465"/>
                    <a:pt x="48987" y="24463"/>
                  </a:cubicBezTo>
                  <a:cubicBezTo>
                    <a:pt x="48880" y="24460"/>
                    <a:pt x="48772" y="24451"/>
                    <a:pt x="48662" y="24438"/>
                  </a:cubicBezTo>
                  <a:cubicBezTo>
                    <a:pt x="48222" y="24382"/>
                    <a:pt x="47767" y="24243"/>
                    <a:pt x="47328" y="24030"/>
                  </a:cubicBezTo>
                  <a:cubicBezTo>
                    <a:pt x="46890" y="23818"/>
                    <a:pt x="46466" y="23529"/>
                    <a:pt x="46109" y="23169"/>
                  </a:cubicBezTo>
                  <a:cubicBezTo>
                    <a:pt x="45741" y="22799"/>
                    <a:pt x="45445" y="22341"/>
                    <a:pt x="45339" y="21852"/>
                  </a:cubicBezTo>
                  <a:cubicBezTo>
                    <a:pt x="45312" y="21730"/>
                    <a:pt x="45297" y="21605"/>
                    <a:pt x="45295" y="21481"/>
                  </a:cubicBezTo>
                  <a:cubicBezTo>
                    <a:pt x="45294" y="21448"/>
                    <a:pt x="45295" y="21423"/>
                    <a:pt x="45295" y="21385"/>
                  </a:cubicBezTo>
                  <a:cubicBezTo>
                    <a:pt x="45297" y="21261"/>
                    <a:pt x="45297" y="21261"/>
                    <a:pt x="45297" y="21261"/>
                  </a:cubicBezTo>
                  <a:cubicBezTo>
                    <a:pt x="45298" y="21178"/>
                    <a:pt x="45299" y="21095"/>
                    <a:pt x="45301" y="21010"/>
                  </a:cubicBezTo>
                  <a:cubicBezTo>
                    <a:pt x="45307" y="20677"/>
                    <a:pt x="45313" y="20336"/>
                    <a:pt x="45319" y="19992"/>
                  </a:cubicBezTo>
                  <a:cubicBezTo>
                    <a:pt x="45330" y="19301"/>
                    <a:pt x="45341" y="18589"/>
                    <a:pt x="45353" y="17859"/>
                  </a:cubicBezTo>
                  <a:cubicBezTo>
                    <a:pt x="45355" y="17675"/>
                    <a:pt x="45359" y="17491"/>
                    <a:pt x="45361" y="17305"/>
                  </a:cubicBezTo>
                  <a:cubicBezTo>
                    <a:pt x="45363" y="17166"/>
                    <a:pt x="45363" y="17166"/>
                    <a:pt x="45363" y="17166"/>
                  </a:cubicBezTo>
                  <a:cubicBezTo>
                    <a:pt x="45364" y="17114"/>
                    <a:pt x="45364" y="17051"/>
                    <a:pt x="45361" y="16997"/>
                  </a:cubicBezTo>
                  <a:cubicBezTo>
                    <a:pt x="45359" y="16885"/>
                    <a:pt x="45351" y="16773"/>
                    <a:pt x="45337" y="16659"/>
                  </a:cubicBezTo>
                  <a:cubicBezTo>
                    <a:pt x="45286" y="16210"/>
                    <a:pt x="45157" y="15763"/>
                    <a:pt x="44951" y="15347"/>
                  </a:cubicBezTo>
                  <a:cubicBezTo>
                    <a:pt x="44641" y="14710"/>
                    <a:pt x="44153" y="14142"/>
                    <a:pt x="43529" y="13729"/>
                  </a:cubicBezTo>
                  <a:cubicBezTo>
                    <a:pt x="43217" y="13524"/>
                    <a:pt x="42870" y="13356"/>
                    <a:pt x="42500" y="13244"/>
                  </a:cubicBezTo>
                  <a:cubicBezTo>
                    <a:pt x="42132" y="13129"/>
                    <a:pt x="41736" y="13070"/>
                    <a:pt x="41345" y="13070"/>
                  </a:cubicBezTo>
                  <a:cubicBezTo>
                    <a:pt x="40618" y="13064"/>
                    <a:pt x="39871" y="13185"/>
                    <a:pt x="39158" y="13423"/>
                  </a:cubicBezTo>
                  <a:cubicBezTo>
                    <a:pt x="38444" y="13659"/>
                    <a:pt x="37766" y="14004"/>
                    <a:pt x="37130" y="14411"/>
                  </a:cubicBezTo>
                  <a:cubicBezTo>
                    <a:pt x="35856" y="15224"/>
                    <a:pt x="34747" y="16279"/>
                    <a:pt x="33632" y="17309"/>
                  </a:cubicBezTo>
                  <a:cubicBezTo>
                    <a:pt x="33352" y="17568"/>
                    <a:pt x="33076" y="17819"/>
                    <a:pt x="32788" y="18071"/>
                  </a:cubicBezTo>
                  <a:cubicBezTo>
                    <a:pt x="32489" y="18331"/>
                    <a:pt x="32193" y="18598"/>
                    <a:pt x="31896" y="18865"/>
                  </a:cubicBezTo>
                  <a:cubicBezTo>
                    <a:pt x="31302" y="19398"/>
                    <a:pt x="30707" y="19941"/>
                    <a:pt x="30094" y="20457"/>
                  </a:cubicBezTo>
                  <a:cubicBezTo>
                    <a:pt x="29605" y="20868"/>
                    <a:pt x="29109" y="21256"/>
                    <a:pt x="28599" y="21580"/>
                  </a:cubicBezTo>
                  <a:cubicBezTo>
                    <a:pt x="28089" y="21905"/>
                    <a:pt x="27564" y="22164"/>
                    <a:pt x="27036" y="22305"/>
                  </a:cubicBezTo>
                  <a:cubicBezTo>
                    <a:pt x="26508" y="22447"/>
                    <a:pt x="25974" y="22467"/>
                    <a:pt x="25446" y="22361"/>
                  </a:cubicBezTo>
                  <a:cubicBezTo>
                    <a:pt x="24916" y="22256"/>
                    <a:pt x="24388" y="22025"/>
                    <a:pt x="23874" y="21719"/>
                  </a:cubicBezTo>
                  <a:cubicBezTo>
                    <a:pt x="23359" y="21411"/>
                    <a:pt x="22857" y="21030"/>
                    <a:pt x="22363" y="20619"/>
                  </a:cubicBezTo>
                  <a:cubicBezTo>
                    <a:pt x="21869" y="20210"/>
                    <a:pt x="21381" y="19768"/>
                    <a:pt x="20890" y="19319"/>
                  </a:cubicBezTo>
                  <a:cubicBezTo>
                    <a:pt x="20399" y="18872"/>
                    <a:pt x="19902" y="18412"/>
                    <a:pt x="19394" y="17963"/>
                  </a:cubicBezTo>
                  <a:cubicBezTo>
                    <a:pt x="18914" y="17534"/>
                    <a:pt x="18435" y="17072"/>
                    <a:pt x="17941" y="16609"/>
                  </a:cubicBezTo>
                  <a:cubicBezTo>
                    <a:pt x="16954" y="15686"/>
                    <a:pt x="15906" y="14737"/>
                    <a:pt x="14638" y="13998"/>
                  </a:cubicBezTo>
                  <a:cubicBezTo>
                    <a:pt x="14005" y="13632"/>
                    <a:pt x="13313" y="13322"/>
                    <a:pt x="12574" y="13129"/>
                  </a:cubicBezTo>
                  <a:cubicBezTo>
                    <a:pt x="12205" y="13032"/>
                    <a:pt x="11825" y="12963"/>
                    <a:pt x="11442" y="12929"/>
                  </a:cubicBezTo>
                  <a:cubicBezTo>
                    <a:pt x="11250" y="12911"/>
                    <a:pt x="11058" y="12900"/>
                    <a:pt x="10865" y="12900"/>
                  </a:cubicBezTo>
                  <a:cubicBezTo>
                    <a:pt x="10658" y="12898"/>
                    <a:pt x="10440" y="12913"/>
                    <a:pt x="10229" y="12943"/>
                  </a:cubicBezTo>
                  <a:cubicBezTo>
                    <a:pt x="9381" y="13066"/>
                    <a:pt x="8585" y="13459"/>
                    <a:pt x="7970" y="14036"/>
                  </a:cubicBezTo>
                  <a:cubicBezTo>
                    <a:pt x="7353" y="14608"/>
                    <a:pt x="6907" y="15365"/>
                    <a:pt x="6712" y="16189"/>
                  </a:cubicBezTo>
                  <a:cubicBezTo>
                    <a:pt x="6663" y="16394"/>
                    <a:pt x="6630" y="16604"/>
                    <a:pt x="6612" y="16813"/>
                  </a:cubicBezTo>
                  <a:cubicBezTo>
                    <a:pt x="6603" y="16919"/>
                    <a:pt x="6597" y="17024"/>
                    <a:pt x="6597" y="17130"/>
                  </a:cubicBezTo>
                  <a:cubicBezTo>
                    <a:pt x="6596" y="17386"/>
                    <a:pt x="6596" y="17386"/>
                    <a:pt x="6596" y="17386"/>
                  </a:cubicBezTo>
                  <a:cubicBezTo>
                    <a:pt x="6594" y="17718"/>
                    <a:pt x="6594" y="18048"/>
                    <a:pt x="6594" y="18378"/>
                  </a:cubicBezTo>
                  <a:cubicBezTo>
                    <a:pt x="6592" y="19038"/>
                    <a:pt x="6591" y="19698"/>
                    <a:pt x="6590" y="20356"/>
                  </a:cubicBezTo>
                  <a:cubicBezTo>
                    <a:pt x="6587" y="22400"/>
                    <a:pt x="6587" y="22400"/>
                    <a:pt x="6587" y="22400"/>
                  </a:cubicBezTo>
                  <a:cubicBezTo>
                    <a:pt x="6585" y="23423"/>
                    <a:pt x="6585" y="23423"/>
                    <a:pt x="6585" y="23423"/>
                  </a:cubicBezTo>
                  <a:cubicBezTo>
                    <a:pt x="6584" y="23823"/>
                    <a:pt x="6584" y="23823"/>
                    <a:pt x="6584" y="23823"/>
                  </a:cubicBezTo>
                  <a:cubicBezTo>
                    <a:pt x="6583" y="23852"/>
                    <a:pt x="6585" y="23879"/>
                    <a:pt x="6581" y="23906"/>
                  </a:cubicBezTo>
                  <a:cubicBezTo>
                    <a:pt x="6578" y="23933"/>
                    <a:pt x="6560" y="23958"/>
                    <a:pt x="6533" y="23966"/>
                  </a:cubicBezTo>
                  <a:cubicBezTo>
                    <a:pt x="6507" y="23971"/>
                    <a:pt x="6479" y="23975"/>
                    <a:pt x="6452" y="23976"/>
                  </a:cubicBezTo>
                  <a:cubicBezTo>
                    <a:pt x="6398" y="23980"/>
                    <a:pt x="6398" y="23980"/>
                    <a:pt x="6398" y="23980"/>
                  </a:cubicBezTo>
                  <a:cubicBezTo>
                    <a:pt x="6161" y="23989"/>
                    <a:pt x="6161" y="23989"/>
                    <a:pt x="6161" y="23989"/>
                  </a:cubicBezTo>
                  <a:cubicBezTo>
                    <a:pt x="6002" y="23994"/>
                    <a:pt x="5839" y="23998"/>
                    <a:pt x="5674" y="23998"/>
                  </a:cubicBezTo>
                  <a:cubicBezTo>
                    <a:pt x="5178" y="23998"/>
                    <a:pt x="5178" y="23998"/>
                    <a:pt x="5178" y="23998"/>
                  </a:cubicBezTo>
                  <a:cubicBezTo>
                    <a:pt x="5051" y="23998"/>
                    <a:pt x="4922" y="23987"/>
                    <a:pt x="4791" y="23969"/>
                  </a:cubicBezTo>
                  <a:cubicBezTo>
                    <a:pt x="4530" y="23933"/>
                    <a:pt x="4264" y="23863"/>
                    <a:pt x="4007" y="23765"/>
                  </a:cubicBezTo>
                  <a:cubicBezTo>
                    <a:pt x="3492" y="23572"/>
                    <a:pt x="3005" y="23268"/>
                    <a:pt x="2631" y="22893"/>
                  </a:cubicBezTo>
                  <a:cubicBezTo>
                    <a:pt x="2256" y="22519"/>
                    <a:pt x="2002" y="22078"/>
                    <a:pt x="1938" y="21654"/>
                  </a:cubicBezTo>
                  <a:cubicBezTo>
                    <a:pt x="1929" y="21602"/>
                    <a:pt x="1923" y="21548"/>
                    <a:pt x="1920" y="21495"/>
                  </a:cubicBezTo>
                  <a:cubicBezTo>
                    <a:pt x="1919" y="21468"/>
                    <a:pt x="1918" y="21441"/>
                    <a:pt x="1918" y="21416"/>
                  </a:cubicBezTo>
                  <a:cubicBezTo>
                    <a:pt x="1917" y="21299"/>
                    <a:pt x="1917" y="21299"/>
                    <a:pt x="1917" y="21299"/>
                  </a:cubicBezTo>
                  <a:cubicBezTo>
                    <a:pt x="1919" y="20789"/>
                    <a:pt x="1919" y="20789"/>
                    <a:pt x="1919" y="20789"/>
                  </a:cubicBezTo>
                  <a:cubicBezTo>
                    <a:pt x="1920" y="19772"/>
                    <a:pt x="1920" y="19772"/>
                    <a:pt x="1920" y="19772"/>
                  </a:cubicBezTo>
                  <a:cubicBezTo>
                    <a:pt x="1922" y="19092"/>
                    <a:pt x="1923" y="18412"/>
                    <a:pt x="1924" y="17736"/>
                  </a:cubicBezTo>
                  <a:cubicBezTo>
                    <a:pt x="1930" y="12447"/>
                    <a:pt x="1943" y="2086"/>
                    <a:pt x="1943" y="1975"/>
                  </a:cubicBezTo>
                  <a:cubicBezTo>
                    <a:pt x="1943" y="1931"/>
                    <a:pt x="1951" y="1894"/>
                    <a:pt x="1977" y="1870"/>
                  </a:cubicBezTo>
                  <a:cubicBezTo>
                    <a:pt x="1998" y="1850"/>
                    <a:pt x="2031" y="1839"/>
                    <a:pt x="2079" y="1839"/>
                  </a:cubicBezTo>
                  <a:cubicBezTo>
                    <a:pt x="2106" y="1839"/>
                    <a:pt x="2204" y="1839"/>
                    <a:pt x="2346" y="1839"/>
                  </a:cubicBezTo>
                  <a:cubicBezTo>
                    <a:pt x="2783" y="1839"/>
                    <a:pt x="3644" y="1839"/>
                    <a:pt x="4171" y="1838"/>
                  </a:cubicBezTo>
                  <a:cubicBezTo>
                    <a:pt x="4586" y="1838"/>
                    <a:pt x="5001" y="1838"/>
                    <a:pt x="5415" y="1838"/>
                  </a:cubicBezTo>
                  <a:cubicBezTo>
                    <a:pt x="6036" y="1837"/>
                    <a:pt x="6036" y="1837"/>
                    <a:pt x="6036" y="1837"/>
                  </a:cubicBezTo>
                  <a:cubicBezTo>
                    <a:pt x="6152" y="1836"/>
                    <a:pt x="6213" y="1838"/>
                    <a:pt x="6307" y="1843"/>
                  </a:cubicBezTo>
                  <a:cubicBezTo>
                    <a:pt x="6395" y="1847"/>
                    <a:pt x="6483" y="1854"/>
                    <a:pt x="6571" y="1863"/>
                  </a:cubicBezTo>
                  <a:cubicBezTo>
                    <a:pt x="7271" y="1932"/>
                    <a:pt x="7952" y="2139"/>
                    <a:pt x="8570" y="2470"/>
                  </a:cubicBezTo>
                  <a:cubicBezTo>
                    <a:pt x="8879" y="2635"/>
                    <a:pt x="9171" y="2831"/>
                    <a:pt x="9442" y="3052"/>
                  </a:cubicBezTo>
                  <a:cubicBezTo>
                    <a:pt x="9510" y="3106"/>
                    <a:pt x="9579" y="3165"/>
                    <a:pt x="9640" y="3220"/>
                  </a:cubicBezTo>
                  <a:cubicBezTo>
                    <a:pt x="9854" y="3419"/>
                    <a:pt x="9854" y="3419"/>
                    <a:pt x="9854" y="3419"/>
                  </a:cubicBezTo>
                  <a:cubicBezTo>
                    <a:pt x="10305" y="3841"/>
                    <a:pt x="10305" y="3841"/>
                    <a:pt x="10305" y="3841"/>
                  </a:cubicBezTo>
                  <a:cubicBezTo>
                    <a:pt x="11970" y="5399"/>
                    <a:pt x="13645" y="6958"/>
                    <a:pt x="15279" y="8472"/>
                  </a:cubicBezTo>
                  <a:cubicBezTo>
                    <a:pt x="15297" y="8489"/>
                    <a:pt x="15297" y="8489"/>
                    <a:pt x="15297" y="8489"/>
                  </a:cubicBezTo>
                  <a:cubicBezTo>
                    <a:pt x="15338" y="8528"/>
                    <a:pt x="15338" y="8528"/>
                    <a:pt x="15338" y="8528"/>
                  </a:cubicBezTo>
                  <a:cubicBezTo>
                    <a:pt x="15418" y="8605"/>
                    <a:pt x="15418" y="8605"/>
                    <a:pt x="15418" y="8605"/>
                  </a:cubicBezTo>
                  <a:cubicBezTo>
                    <a:pt x="15580" y="8758"/>
                    <a:pt x="15580" y="8758"/>
                    <a:pt x="15580" y="8758"/>
                  </a:cubicBezTo>
                  <a:cubicBezTo>
                    <a:pt x="15688" y="8859"/>
                    <a:pt x="15797" y="8959"/>
                    <a:pt x="15909" y="9055"/>
                  </a:cubicBezTo>
                  <a:cubicBezTo>
                    <a:pt x="16131" y="9250"/>
                    <a:pt x="16359" y="9436"/>
                    <a:pt x="16590" y="9615"/>
                  </a:cubicBezTo>
                  <a:cubicBezTo>
                    <a:pt x="17053" y="9974"/>
                    <a:pt x="17535" y="10299"/>
                    <a:pt x="18027" y="10592"/>
                  </a:cubicBezTo>
                  <a:cubicBezTo>
                    <a:pt x="19012" y="11180"/>
                    <a:pt x="20042" y="11634"/>
                    <a:pt x="21073" y="11966"/>
                  </a:cubicBezTo>
                  <a:cubicBezTo>
                    <a:pt x="22104" y="12297"/>
                    <a:pt x="23135" y="12505"/>
                    <a:pt x="24130" y="12613"/>
                  </a:cubicBezTo>
                  <a:cubicBezTo>
                    <a:pt x="25126" y="12720"/>
                    <a:pt x="26085" y="12731"/>
                    <a:pt x="26986" y="12667"/>
                  </a:cubicBezTo>
                  <a:cubicBezTo>
                    <a:pt x="28794" y="12547"/>
                    <a:pt x="30366" y="12128"/>
                    <a:pt x="31601" y="11637"/>
                  </a:cubicBezTo>
                  <a:cubicBezTo>
                    <a:pt x="32764" y="11180"/>
                    <a:pt x="33788" y="10609"/>
                    <a:pt x="34694" y="9965"/>
                  </a:cubicBezTo>
                  <a:cubicBezTo>
                    <a:pt x="35147" y="9644"/>
                    <a:pt x="35570" y="9301"/>
                    <a:pt x="35966" y="8944"/>
                  </a:cubicBezTo>
                  <a:cubicBezTo>
                    <a:pt x="36164" y="8767"/>
                    <a:pt x="36361" y="8576"/>
                    <a:pt x="36536" y="8402"/>
                  </a:cubicBezTo>
                  <a:cubicBezTo>
                    <a:pt x="36717" y="8227"/>
                    <a:pt x="36895" y="8051"/>
                    <a:pt x="37074" y="7875"/>
                  </a:cubicBezTo>
                  <a:cubicBezTo>
                    <a:pt x="39465" y="5534"/>
                    <a:pt x="41336" y="3664"/>
                    <a:pt x="42185" y="2767"/>
                  </a:cubicBezTo>
                  <a:cubicBezTo>
                    <a:pt x="42609" y="2330"/>
                    <a:pt x="42961" y="1961"/>
                    <a:pt x="43246" y="1655"/>
                  </a:cubicBezTo>
                  <a:cubicBezTo>
                    <a:pt x="43282" y="1615"/>
                    <a:pt x="43319" y="1576"/>
                    <a:pt x="43355" y="1537"/>
                  </a:cubicBezTo>
                  <a:cubicBezTo>
                    <a:pt x="43384" y="1506"/>
                    <a:pt x="43413" y="1474"/>
                    <a:pt x="43442" y="1444"/>
                  </a:cubicBezTo>
                  <a:cubicBezTo>
                    <a:pt x="43455" y="1429"/>
                    <a:pt x="43468" y="1415"/>
                    <a:pt x="43482" y="1400"/>
                  </a:cubicBezTo>
                  <a:cubicBezTo>
                    <a:pt x="43492" y="1388"/>
                    <a:pt x="43502" y="1377"/>
                    <a:pt x="43511" y="1366"/>
                  </a:cubicBezTo>
                  <a:cubicBezTo>
                    <a:pt x="43547" y="1323"/>
                    <a:pt x="43578" y="1286"/>
                    <a:pt x="43599" y="1259"/>
                  </a:cubicBezTo>
                  <a:cubicBezTo>
                    <a:pt x="43675" y="1223"/>
                    <a:pt x="43738" y="1193"/>
                    <a:pt x="43792" y="1166"/>
                  </a:cubicBezTo>
                  <a:cubicBezTo>
                    <a:pt x="43855" y="1133"/>
                    <a:pt x="43909" y="1105"/>
                    <a:pt x="43958" y="1079"/>
                  </a:cubicBezTo>
                  <a:cubicBezTo>
                    <a:pt x="43981" y="1066"/>
                    <a:pt x="44282" y="928"/>
                    <a:pt x="44343" y="896"/>
                  </a:cubicBezTo>
                  <a:cubicBezTo>
                    <a:pt x="44493" y="812"/>
                    <a:pt x="44494" y="738"/>
                    <a:pt x="43958" y="663"/>
                  </a:cubicBezTo>
                  <a:cubicBezTo>
                    <a:pt x="43955" y="662"/>
                    <a:pt x="43955" y="662"/>
                    <a:pt x="43955" y="662"/>
                  </a:cubicBezTo>
                  <a:cubicBezTo>
                    <a:pt x="43884" y="677"/>
                    <a:pt x="43884" y="677"/>
                    <a:pt x="43884" y="677"/>
                  </a:cubicBezTo>
                  <a:cubicBezTo>
                    <a:pt x="43824" y="689"/>
                    <a:pt x="43754" y="706"/>
                    <a:pt x="43670" y="727"/>
                  </a:cubicBezTo>
                  <a:cubicBezTo>
                    <a:pt x="43621" y="740"/>
                    <a:pt x="43570" y="755"/>
                    <a:pt x="43518" y="768"/>
                  </a:cubicBezTo>
                  <a:cubicBezTo>
                    <a:pt x="43456" y="785"/>
                    <a:pt x="43392" y="804"/>
                    <a:pt x="43327" y="822"/>
                  </a:cubicBezTo>
                  <a:cubicBezTo>
                    <a:pt x="43141" y="971"/>
                    <a:pt x="42934" y="1137"/>
                    <a:pt x="42699" y="1324"/>
                  </a:cubicBezTo>
                  <a:cubicBezTo>
                    <a:pt x="42464" y="1515"/>
                    <a:pt x="42189" y="1742"/>
                    <a:pt x="41873" y="2007"/>
                  </a:cubicBezTo>
                  <a:cubicBezTo>
                    <a:pt x="41042" y="2692"/>
                    <a:pt x="38675" y="4850"/>
                    <a:pt x="35671" y="7622"/>
                  </a:cubicBezTo>
                  <a:cubicBezTo>
                    <a:pt x="35575" y="7710"/>
                    <a:pt x="35487" y="7792"/>
                    <a:pt x="35393" y="7874"/>
                  </a:cubicBezTo>
                  <a:cubicBezTo>
                    <a:pt x="35301" y="7956"/>
                    <a:pt x="35207" y="8038"/>
                    <a:pt x="35110" y="8118"/>
                  </a:cubicBezTo>
                  <a:cubicBezTo>
                    <a:pt x="34918" y="8281"/>
                    <a:pt x="34719" y="8437"/>
                    <a:pt x="34512" y="8591"/>
                  </a:cubicBezTo>
                  <a:cubicBezTo>
                    <a:pt x="34100" y="8897"/>
                    <a:pt x="33661" y="9186"/>
                    <a:pt x="33199" y="9450"/>
                  </a:cubicBezTo>
                  <a:cubicBezTo>
                    <a:pt x="32274" y="9980"/>
                    <a:pt x="31253" y="10412"/>
                    <a:pt x="30179" y="10717"/>
                  </a:cubicBezTo>
                  <a:cubicBezTo>
                    <a:pt x="28032" y="11330"/>
                    <a:pt x="25667" y="11418"/>
                    <a:pt x="23498" y="11014"/>
                  </a:cubicBezTo>
                  <a:cubicBezTo>
                    <a:pt x="21528" y="10648"/>
                    <a:pt x="19660" y="9859"/>
                    <a:pt x="18064" y="8699"/>
                  </a:cubicBezTo>
                  <a:cubicBezTo>
                    <a:pt x="17665" y="8409"/>
                    <a:pt x="17283" y="8097"/>
                    <a:pt x="16920" y="7763"/>
                  </a:cubicBezTo>
                  <a:cubicBezTo>
                    <a:pt x="16830" y="7680"/>
                    <a:pt x="16740" y="7595"/>
                    <a:pt x="16652" y="7510"/>
                  </a:cubicBezTo>
                  <a:cubicBezTo>
                    <a:pt x="16521" y="7380"/>
                    <a:pt x="16521" y="7380"/>
                    <a:pt x="16521" y="7380"/>
                  </a:cubicBezTo>
                  <a:cubicBezTo>
                    <a:pt x="16455" y="7314"/>
                    <a:pt x="16455" y="7314"/>
                    <a:pt x="16455" y="7314"/>
                  </a:cubicBezTo>
                  <a:cubicBezTo>
                    <a:pt x="16370" y="7232"/>
                    <a:pt x="16370" y="7232"/>
                    <a:pt x="16370" y="7232"/>
                  </a:cubicBezTo>
                  <a:cubicBezTo>
                    <a:pt x="15807" y="6693"/>
                    <a:pt x="15807" y="6693"/>
                    <a:pt x="15807" y="6693"/>
                  </a:cubicBezTo>
                  <a:cubicBezTo>
                    <a:pt x="15055" y="5974"/>
                    <a:pt x="14303" y="5254"/>
                    <a:pt x="13548" y="4532"/>
                  </a:cubicBezTo>
                  <a:cubicBezTo>
                    <a:pt x="12794" y="3811"/>
                    <a:pt x="12037" y="3086"/>
                    <a:pt x="11277" y="2358"/>
                  </a:cubicBezTo>
                  <a:cubicBezTo>
                    <a:pt x="10992" y="2085"/>
                    <a:pt x="10992" y="2085"/>
                    <a:pt x="10992" y="2085"/>
                  </a:cubicBezTo>
                  <a:cubicBezTo>
                    <a:pt x="10842" y="1945"/>
                    <a:pt x="10842" y="1945"/>
                    <a:pt x="10842" y="1945"/>
                  </a:cubicBezTo>
                  <a:cubicBezTo>
                    <a:pt x="10784" y="1890"/>
                    <a:pt x="10730" y="1842"/>
                    <a:pt x="10674" y="1792"/>
                  </a:cubicBezTo>
                  <a:cubicBezTo>
                    <a:pt x="10451" y="1598"/>
                    <a:pt x="10215" y="1417"/>
                    <a:pt x="9968" y="1251"/>
                  </a:cubicBezTo>
                  <a:cubicBezTo>
                    <a:pt x="9475" y="920"/>
                    <a:pt x="8938" y="648"/>
                    <a:pt x="8374" y="447"/>
                  </a:cubicBezTo>
                  <a:cubicBezTo>
                    <a:pt x="7808" y="246"/>
                    <a:pt x="7215" y="116"/>
                    <a:pt x="6613" y="63"/>
                  </a:cubicBezTo>
                  <a:cubicBezTo>
                    <a:pt x="6539" y="57"/>
                    <a:pt x="6463" y="50"/>
                    <a:pt x="6388" y="46"/>
                  </a:cubicBezTo>
                  <a:cubicBezTo>
                    <a:pt x="6274" y="41"/>
                    <a:pt x="6274" y="41"/>
                    <a:pt x="6274" y="41"/>
                  </a:cubicBezTo>
                  <a:cubicBezTo>
                    <a:pt x="6155" y="37"/>
                    <a:pt x="6155" y="37"/>
                    <a:pt x="6155" y="37"/>
                  </a:cubicBezTo>
                  <a:cubicBezTo>
                    <a:pt x="5751" y="33"/>
                    <a:pt x="5751" y="33"/>
                    <a:pt x="5751" y="33"/>
                  </a:cubicBezTo>
                  <a:cubicBezTo>
                    <a:pt x="5482" y="31"/>
                    <a:pt x="5212" y="29"/>
                    <a:pt x="4942" y="27"/>
                  </a:cubicBezTo>
                  <a:cubicBezTo>
                    <a:pt x="3743" y="18"/>
                    <a:pt x="2484" y="0"/>
                    <a:pt x="1317" y="0"/>
                  </a:cubicBezTo>
                  <a:cubicBezTo>
                    <a:pt x="1261" y="0"/>
                    <a:pt x="1219" y="11"/>
                    <a:pt x="1167" y="15"/>
                  </a:cubicBezTo>
                  <a:cubicBezTo>
                    <a:pt x="1140" y="17"/>
                    <a:pt x="1114" y="19"/>
                    <a:pt x="1086" y="23"/>
                  </a:cubicBezTo>
                  <a:cubicBezTo>
                    <a:pt x="155" y="136"/>
                    <a:pt x="96" y="899"/>
                    <a:pt x="96" y="1210"/>
                  </a:cubicBezTo>
                  <a:cubicBezTo>
                    <a:pt x="96" y="1401"/>
                    <a:pt x="94" y="1611"/>
                    <a:pt x="93" y="1809"/>
                  </a:cubicBezTo>
                  <a:cubicBezTo>
                    <a:pt x="89" y="2555"/>
                    <a:pt x="80" y="3778"/>
                    <a:pt x="75" y="4603"/>
                  </a:cubicBezTo>
                  <a:cubicBezTo>
                    <a:pt x="60" y="7453"/>
                    <a:pt x="44" y="10331"/>
                    <a:pt x="28" y="13349"/>
                  </a:cubicBezTo>
                  <a:cubicBezTo>
                    <a:pt x="23" y="14793"/>
                    <a:pt x="17" y="16270"/>
                    <a:pt x="11" y="17772"/>
                  </a:cubicBezTo>
                  <a:cubicBezTo>
                    <a:pt x="9" y="18522"/>
                    <a:pt x="6" y="19281"/>
                    <a:pt x="4" y="20044"/>
                  </a:cubicBezTo>
                  <a:cubicBezTo>
                    <a:pt x="2" y="20426"/>
                    <a:pt x="1" y="20810"/>
                    <a:pt x="0" y="21196"/>
                  </a:cubicBezTo>
                  <a:cubicBezTo>
                    <a:pt x="0" y="21340"/>
                    <a:pt x="0" y="21340"/>
                    <a:pt x="0" y="21340"/>
                  </a:cubicBezTo>
                  <a:cubicBezTo>
                    <a:pt x="0" y="21416"/>
                    <a:pt x="0" y="21416"/>
                    <a:pt x="0" y="21416"/>
                  </a:cubicBezTo>
                  <a:cubicBezTo>
                    <a:pt x="1" y="21517"/>
                    <a:pt x="1" y="21517"/>
                    <a:pt x="1" y="21517"/>
                  </a:cubicBezTo>
                  <a:cubicBezTo>
                    <a:pt x="6" y="21650"/>
                    <a:pt x="19" y="21782"/>
                    <a:pt x="37" y="21914"/>
                  </a:cubicBezTo>
                  <a:cubicBezTo>
                    <a:pt x="76" y="22177"/>
                    <a:pt x="143" y="22433"/>
                    <a:pt x="235" y="22675"/>
                  </a:cubicBezTo>
                  <a:cubicBezTo>
                    <a:pt x="417" y="23161"/>
                    <a:pt x="689" y="23591"/>
                    <a:pt x="1005" y="23958"/>
                  </a:cubicBezTo>
                  <a:cubicBezTo>
                    <a:pt x="1321" y="24328"/>
                    <a:pt x="1682" y="24642"/>
                    <a:pt x="2071" y="24909"/>
                  </a:cubicBezTo>
                  <a:cubicBezTo>
                    <a:pt x="2460" y="25172"/>
                    <a:pt x="2878" y="25390"/>
                    <a:pt x="3320" y="25559"/>
                  </a:cubicBezTo>
                  <a:cubicBezTo>
                    <a:pt x="3761" y="25725"/>
                    <a:pt x="4229" y="25844"/>
                    <a:pt x="4719" y="25893"/>
                  </a:cubicBezTo>
                  <a:cubicBezTo>
                    <a:pt x="4843" y="25906"/>
                    <a:pt x="4967" y="25915"/>
                    <a:pt x="5092" y="25916"/>
                  </a:cubicBezTo>
                  <a:cubicBezTo>
                    <a:pt x="5413" y="25918"/>
                    <a:pt x="5413" y="25918"/>
                    <a:pt x="5413" y="25918"/>
                  </a:cubicBezTo>
                  <a:cubicBezTo>
                    <a:pt x="5616" y="25918"/>
                    <a:pt x="5822" y="25918"/>
                    <a:pt x="6032" y="25913"/>
                  </a:cubicBezTo>
                  <a:cubicBezTo>
                    <a:pt x="6349" y="25902"/>
                    <a:pt x="6349" y="25902"/>
                    <a:pt x="6349" y="25902"/>
                  </a:cubicBezTo>
                  <a:cubicBezTo>
                    <a:pt x="6511" y="25895"/>
                    <a:pt x="6511" y="25895"/>
                    <a:pt x="6511" y="25895"/>
                  </a:cubicBezTo>
                  <a:cubicBezTo>
                    <a:pt x="6643" y="25888"/>
                    <a:pt x="6643" y="25888"/>
                    <a:pt x="6643" y="25888"/>
                  </a:cubicBezTo>
                  <a:cubicBezTo>
                    <a:pt x="6783" y="25877"/>
                    <a:pt x="6783" y="25877"/>
                    <a:pt x="6783" y="25877"/>
                  </a:cubicBezTo>
                  <a:cubicBezTo>
                    <a:pt x="7156" y="25844"/>
                    <a:pt x="7534" y="25788"/>
                    <a:pt x="7817" y="25615"/>
                  </a:cubicBezTo>
                  <a:cubicBezTo>
                    <a:pt x="7959" y="25532"/>
                    <a:pt x="8094" y="25415"/>
                    <a:pt x="8198" y="25276"/>
                  </a:cubicBezTo>
                  <a:cubicBezTo>
                    <a:pt x="8303" y="25137"/>
                    <a:pt x="8375" y="24986"/>
                    <a:pt x="8425" y="24824"/>
                  </a:cubicBezTo>
                  <a:cubicBezTo>
                    <a:pt x="8449" y="24743"/>
                    <a:pt x="8467" y="24656"/>
                    <a:pt x="8480" y="24568"/>
                  </a:cubicBezTo>
                  <a:cubicBezTo>
                    <a:pt x="8491" y="24478"/>
                    <a:pt x="8487" y="24382"/>
                    <a:pt x="8491" y="24288"/>
                  </a:cubicBezTo>
                  <a:cubicBezTo>
                    <a:pt x="8502" y="23762"/>
                    <a:pt x="8502" y="23762"/>
                    <a:pt x="8502" y="23762"/>
                  </a:cubicBezTo>
                  <a:cubicBezTo>
                    <a:pt x="8502" y="23360"/>
                    <a:pt x="8503" y="22958"/>
                    <a:pt x="8503" y="22556"/>
                  </a:cubicBezTo>
                  <a:cubicBezTo>
                    <a:pt x="8505" y="20944"/>
                    <a:pt x="8506" y="19323"/>
                    <a:pt x="8507" y="17700"/>
                  </a:cubicBezTo>
                  <a:cubicBezTo>
                    <a:pt x="8508" y="17114"/>
                    <a:pt x="8508" y="17114"/>
                    <a:pt x="8508" y="17114"/>
                  </a:cubicBezTo>
                  <a:cubicBezTo>
                    <a:pt x="8511" y="16971"/>
                    <a:pt x="8527" y="16829"/>
                    <a:pt x="8557" y="16688"/>
                  </a:cubicBezTo>
                  <a:cubicBezTo>
                    <a:pt x="8615" y="16409"/>
                    <a:pt x="8725" y="16138"/>
                    <a:pt x="8881" y="15895"/>
                  </a:cubicBezTo>
                  <a:cubicBezTo>
                    <a:pt x="9190" y="15408"/>
                    <a:pt x="9681" y="15035"/>
                    <a:pt x="10225" y="14883"/>
                  </a:cubicBezTo>
                  <a:cubicBezTo>
                    <a:pt x="10360" y="14844"/>
                    <a:pt x="10499" y="14819"/>
                    <a:pt x="10639" y="14806"/>
                  </a:cubicBezTo>
                  <a:cubicBezTo>
                    <a:pt x="10710" y="14799"/>
                    <a:pt x="10777" y="14797"/>
                    <a:pt x="10853" y="14797"/>
                  </a:cubicBezTo>
                  <a:cubicBezTo>
                    <a:pt x="10937" y="14797"/>
                    <a:pt x="11022" y="14799"/>
                    <a:pt x="11106" y="14804"/>
                  </a:cubicBezTo>
                  <a:cubicBezTo>
                    <a:pt x="11443" y="14822"/>
                    <a:pt x="11778" y="14874"/>
                    <a:pt x="12109" y="14963"/>
                  </a:cubicBezTo>
                  <a:cubicBezTo>
                    <a:pt x="12771" y="15136"/>
                    <a:pt x="13415" y="15442"/>
                    <a:pt x="14033" y="15836"/>
                  </a:cubicBezTo>
                  <a:cubicBezTo>
                    <a:pt x="14652" y="16228"/>
                    <a:pt x="15245" y="16701"/>
                    <a:pt x="15826" y="17211"/>
                  </a:cubicBezTo>
                  <a:cubicBezTo>
                    <a:pt x="16408" y="17720"/>
                    <a:pt x="16977" y="18268"/>
                    <a:pt x="17572" y="18816"/>
                  </a:cubicBezTo>
                  <a:cubicBezTo>
                    <a:pt x="17865" y="19090"/>
                    <a:pt x="18186" y="19371"/>
                    <a:pt x="18471" y="19624"/>
                  </a:cubicBezTo>
                  <a:cubicBezTo>
                    <a:pt x="18763" y="19887"/>
                    <a:pt x="19055" y="20148"/>
                    <a:pt x="19346" y="20412"/>
                  </a:cubicBezTo>
                  <a:cubicBezTo>
                    <a:pt x="19931" y="20940"/>
                    <a:pt x="20520" y="21474"/>
                    <a:pt x="21145" y="21991"/>
                  </a:cubicBezTo>
                  <a:cubicBezTo>
                    <a:pt x="21771" y="22505"/>
                    <a:pt x="22434" y="23006"/>
                    <a:pt x="23192" y="23423"/>
                  </a:cubicBezTo>
                  <a:cubicBezTo>
                    <a:pt x="23571" y="23630"/>
                    <a:pt x="23975" y="23814"/>
                    <a:pt x="24404" y="23955"/>
                  </a:cubicBezTo>
                  <a:cubicBezTo>
                    <a:pt x="24833" y="24094"/>
                    <a:pt x="25289" y="24189"/>
                    <a:pt x="25751" y="24218"/>
                  </a:cubicBezTo>
                  <a:cubicBezTo>
                    <a:pt x="26212" y="24249"/>
                    <a:pt x="26677" y="24214"/>
                    <a:pt x="27122" y="24126"/>
                  </a:cubicBezTo>
                  <a:cubicBezTo>
                    <a:pt x="27565" y="24036"/>
                    <a:pt x="27988" y="23893"/>
                    <a:pt x="28379" y="23720"/>
                  </a:cubicBezTo>
                  <a:cubicBezTo>
                    <a:pt x="29164" y="23372"/>
                    <a:pt x="29831" y="22916"/>
                    <a:pt x="30440" y="22446"/>
                  </a:cubicBezTo>
                  <a:cubicBezTo>
                    <a:pt x="31050" y="21975"/>
                    <a:pt x="31603" y="21484"/>
                    <a:pt x="32136" y="21001"/>
                  </a:cubicBezTo>
                  <a:cubicBezTo>
                    <a:pt x="32660" y="20522"/>
                    <a:pt x="33177" y="20047"/>
                    <a:pt x="33687" y="19580"/>
                  </a:cubicBezTo>
                  <a:cubicBezTo>
                    <a:pt x="33815" y="19465"/>
                    <a:pt x="33943" y="19352"/>
                    <a:pt x="34070" y="19236"/>
                  </a:cubicBezTo>
                  <a:cubicBezTo>
                    <a:pt x="34200" y="19117"/>
                    <a:pt x="34329" y="18998"/>
                    <a:pt x="34459" y="18879"/>
                  </a:cubicBezTo>
                  <a:cubicBezTo>
                    <a:pt x="34710" y="18643"/>
                    <a:pt x="34957" y="18407"/>
                    <a:pt x="35204" y="18174"/>
                  </a:cubicBezTo>
                  <a:cubicBezTo>
                    <a:pt x="35690" y="17712"/>
                    <a:pt x="36160" y="17269"/>
                    <a:pt x="36635" y="16860"/>
                  </a:cubicBezTo>
                  <a:cubicBezTo>
                    <a:pt x="37578" y="16043"/>
                    <a:pt x="38544" y="15368"/>
                    <a:pt x="39540" y="14993"/>
                  </a:cubicBezTo>
                  <a:cubicBezTo>
                    <a:pt x="40038" y="14804"/>
                    <a:pt x="40538" y="14689"/>
                    <a:pt x="41035" y="14649"/>
                  </a:cubicBezTo>
                  <a:cubicBezTo>
                    <a:pt x="41158" y="14640"/>
                    <a:pt x="41287" y="14633"/>
                    <a:pt x="41402" y="14633"/>
                  </a:cubicBezTo>
                  <a:cubicBezTo>
                    <a:pt x="41509" y="14633"/>
                    <a:pt x="41616" y="14640"/>
                    <a:pt x="41719" y="14653"/>
                  </a:cubicBezTo>
                  <a:cubicBezTo>
                    <a:pt x="41929" y="14680"/>
                    <a:pt x="42132" y="14736"/>
                    <a:pt x="42326" y="14813"/>
                  </a:cubicBezTo>
                  <a:cubicBezTo>
                    <a:pt x="42712" y="14970"/>
                    <a:pt x="43051" y="15224"/>
                    <a:pt x="43312" y="15531"/>
                  </a:cubicBezTo>
                  <a:cubicBezTo>
                    <a:pt x="43575" y="15839"/>
                    <a:pt x="43757" y="16198"/>
                    <a:pt x="43853" y="16566"/>
                  </a:cubicBezTo>
                  <a:cubicBezTo>
                    <a:pt x="43900" y="16750"/>
                    <a:pt x="43927" y="16939"/>
                    <a:pt x="43934" y="17121"/>
                  </a:cubicBezTo>
                  <a:cubicBezTo>
                    <a:pt x="43938" y="17357"/>
                    <a:pt x="43941" y="17592"/>
                    <a:pt x="43945" y="17822"/>
                  </a:cubicBezTo>
                  <a:cubicBezTo>
                    <a:pt x="43951" y="18291"/>
                    <a:pt x="43959" y="18749"/>
                    <a:pt x="43965" y="19195"/>
                  </a:cubicBezTo>
                  <a:cubicBezTo>
                    <a:pt x="43972" y="19640"/>
                    <a:pt x="43979" y="20073"/>
                    <a:pt x="43987" y="20491"/>
                  </a:cubicBezTo>
                  <a:cubicBezTo>
                    <a:pt x="43990" y="20700"/>
                    <a:pt x="43994" y="20908"/>
                    <a:pt x="43997" y="21110"/>
                  </a:cubicBezTo>
                  <a:cubicBezTo>
                    <a:pt x="43999" y="21212"/>
                    <a:pt x="44001" y="21313"/>
                    <a:pt x="44003" y="21414"/>
                  </a:cubicBezTo>
                  <a:cubicBezTo>
                    <a:pt x="44005" y="21542"/>
                    <a:pt x="44016" y="21667"/>
                    <a:pt x="44033" y="21791"/>
                  </a:cubicBezTo>
                  <a:cubicBezTo>
                    <a:pt x="44102" y="22278"/>
                    <a:pt x="44279" y="22709"/>
                    <a:pt x="44495" y="23069"/>
                  </a:cubicBezTo>
                  <a:cubicBezTo>
                    <a:pt x="44711" y="23432"/>
                    <a:pt x="44969" y="23733"/>
                    <a:pt x="45236" y="23985"/>
                  </a:cubicBezTo>
                  <a:cubicBezTo>
                    <a:pt x="45772" y="24492"/>
                    <a:pt x="46343" y="24824"/>
                    <a:pt x="46894" y="25058"/>
                  </a:cubicBezTo>
                  <a:cubicBezTo>
                    <a:pt x="47447" y="25289"/>
                    <a:pt x="47986" y="25417"/>
                    <a:pt x="48500" y="25462"/>
                  </a:cubicBezTo>
                  <a:cubicBezTo>
                    <a:pt x="48756" y="25486"/>
                    <a:pt x="49022" y="25478"/>
                    <a:pt x="49226" y="25468"/>
                  </a:cubicBezTo>
                  <a:cubicBezTo>
                    <a:pt x="49441" y="25458"/>
                    <a:pt x="49650" y="25448"/>
                    <a:pt x="49854" y="25433"/>
                  </a:cubicBezTo>
                  <a:cubicBezTo>
                    <a:pt x="49956" y="25424"/>
                    <a:pt x="50056" y="25417"/>
                    <a:pt x="50155" y="25408"/>
                  </a:cubicBezTo>
                  <a:cubicBezTo>
                    <a:pt x="50216" y="25403"/>
                    <a:pt x="50276" y="25397"/>
                    <a:pt x="50335" y="25392"/>
                  </a:cubicBezTo>
                  <a:cubicBezTo>
                    <a:pt x="50402" y="25385"/>
                    <a:pt x="50470" y="25377"/>
                    <a:pt x="50537" y="25370"/>
                  </a:cubicBezTo>
                  <a:cubicBezTo>
                    <a:pt x="50803" y="25338"/>
                    <a:pt x="51055" y="25289"/>
                    <a:pt x="51257" y="25177"/>
                  </a:cubicBezTo>
                  <a:cubicBezTo>
                    <a:pt x="51359" y="25121"/>
                    <a:pt x="51451" y="25037"/>
                    <a:pt x="51516" y="24937"/>
                  </a:cubicBezTo>
                  <a:cubicBezTo>
                    <a:pt x="51581" y="24838"/>
                    <a:pt x="51618" y="24728"/>
                    <a:pt x="51641" y="24616"/>
                  </a:cubicBezTo>
                  <a:cubicBezTo>
                    <a:pt x="51688" y="24393"/>
                    <a:pt x="51664" y="24142"/>
                    <a:pt x="51664" y="23906"/>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7"/>
            <p:cNvSpPr>
              <a:spLocks/>
            </p:cNvSpPr>
            <p:nvPr userDrawn="1"/>
          </p:nvSpPr>
          <p:spPr bwMode="auto">
            <a:xfrm>
              <a:off x="-82780187" y="20591463"/>
              <a:ext cx="78374875" cy="93070362"/>
            </a:xfrm>
            <a:custGeom>
              <a:avLst/>
              <a:gdLst>
                <a:gd name="T0" fmla="*/ 18726 w 20899"/>
                <a:gd name="T1" fmla="*/ 18165 h 24816"/>
                <a:gd name="T2" fmla="*/ 16704 w 20899"/>
                <a:gd name="T3" fmla="*/ 16252 h 24816"/>
                <a:gd name="T4" fmla="*/ 12823 w 20899"/>
                <a:gd name="T5" fmla="*/ 13479 h 24816"/>
                <a:gd name="T6" fmla="*/ 9723 w 20899"/>
                <a:gd name="T7" fmla="*/ 12968 h 24816"/>
                <a:gd name="T8" fmla="*/ 7957 w 20899"/>
                <a:gd name="T9" fmla="*/ 13747 h 24816"/>
                <a:gd name="T10" fmla="*/ 6544 w 20899"/>
                <a:gd name="T11" fmla="*/ 16529 h 24816"/>
                <a:gd name="T12" fmla="*/ 6538 w 20899"/>
                <a:gd name="T13" fmla="*/ 16843 h 24816"/>
                <a:gd name="T14" fmla="*/ 6526 w 20899"/>
                <a:gd name="T15" fmla="*/ 18358 h 24816"/>
                <a:gd name="T16" fmla="*/ 6495 w 20899"/>
                <a:gd name="T17" fmla="*/ 23550 h 24816"/>
                <a:gd name="T18" fmla="*/ 6349 w 20899"/>
                <a:gd name="T19" fmla="*/ 23873 h 24816"/>
                <a:gd name="T20" fmla="*/ 5979 w 20899"/>
                <a:gd name="T21" fmla="*/ 23933 h 24816"/>
                <a:gd name="T22" fmla="*/ 5730 w 20899"/>
                <a:gd name="T23" fmla="*/ 23945 h 24816"/>
                <a:gd name="T24" fmla="*/ 4774 w 20899"/>
                <a:gd name="T25" fmla="*/ 23960 h 24816"/>
                <a:gd name="T26" fmla="*/ 4472 w 20899"/>
                <a:gd name="T27" fmla="*/ 23956 h 24816"/>
                <a:gd name="T28" fmla="*/ 2799 w 20899"/>
                <a:gd name="T29" fmla="*/ 23486 h 24816"/>
                <a:gd name="T30" fmla="*/ 869 w 20899"/>
                <a:gd name="T31" fmla="*/ 20931 h 24816"/>
                <a:gd name="T32" fmla="*/ 810 w 20899"/>
                <a:gd name="T33" fmla="*/ 10472 h 24816"/>
                <a:gd name="T34" fmla="*/ 893 w 20899"/>
                <a:gd name="T35" fmla="*/ 826 h 24816"/>
                <a:gd name="T36" fmla="*/ 4833 w 20899"/>
                <a:gd name="T37" fmla="*/ 721 h 24816"/>
                <a:gd name="T38" fmla="*/ 5743 w 20899"/>
                <a:gd name="T39" fmla="*/ 723 h 24816"/>
                <a:gd name="T40" fmla="*/ 8228 w 20899"/>
                <a:gd name="T41" fmla="*/ 1382 h 24816"/>
                <a:gd name="T42" fmla="*/ 10925 w 20899"/>
                <a:gd name="T43" fmla="*/ 3587 h 24816"/>
                <a:gd name="T44" fmla="*/ 14516 w 20899"/>
                <a:gd name="T45" fmla="*/ 6926 h 24816"/>
                <a:gd name="T46" fmla="*/ 15118 w 20899"/>
                <a:gd name="T47" fmla="*/ 7482 h 24816"/>
                <a:gd name="T48" fmla="*/ 15228 w 20899"/>
                <a:gd name="T49" fmla="*/ 7584 h 24816"/>
                <a:gd name="T50" fmla="*/ 17201 w 20899"/>
                <a:gd name="T51" fmla="*/ 9156 h 24816"/>
                <a:gd name="T52" fmla="*/ 19276 w 20899"/>
                <a:gd name="T53" fmla="*/ 10228 h 24816"/>
                <a:gd name="T54" fmla="*/ 20704 w 20899"/>
                <a:gd name="T55" fmla="*/ 10652 h 24816"/>
                <a:gd name="T56" fmla="*/ 19526 w 20899"/>
                <a:gd name="T57" fmla="*/ 10044 h 24816"/>
                <a:gd name="T58" fmla="*/ 15710 w 20899"/>
                <a:gd name="T59" fmla="*/ 7341 h 24816"/>
                <a:gd name="T60" fmla="*/ 15321 w 20899"/>
                <a:gd name="T61" fmla="*/ 6958 h 24816"/>
                <a:gd name="T62" fmla="*/ 14062 w 20899"/>
                <a:gd name="T63" fmla="*/ 5741 h 24816"/>
                <a:gd name="T64" fmla="*/ 9540 w 20899"/>
                <a:gd name="T65" fmla="*/ 1447 h 24816"/>
                <a:gd name="T66" fmla="*/ 7379 w 20899"/>
                <a:gd name="T67" fmla="*/ 317 h 24816"/>
                <a:gd name="T68" fmla="*/ 5592 w 20899"/>
                <a:gd name="T69" fmla="*/ 28 h 24816"/>
                <a:gd name="T70" fmla="*/ 5281 w 20899"/>
                <a:gd name="T71" fmla="*/ 25 h 24816"/>
                <a:gd name="T72" fmla="*/ 4025 w 20899"/>
                <a:gd name="T73" fmla="*/ 17 h 24816"/>
                <a:gd name="T74" fmla="*/ 47 w 20899"/>
                <a:gd name="T75" fmla="*/ 915 h 24816"/>
                <a:gd name="T76" fmla="*/ 2 w 20899"/>
                <a:gd name="T77" fmla="*/ 17555 h 24816"/>
                <a:gd name="T78" fmla="*/ 5 w 20899"/>
                <a:gd name="T79" fmla="*/ 20341 h 24816"/>
                <a:gd name="T80" fmla="*/ 6 w 20899"/>
                <a:gd name="T81" fmla="*/ 20923 h 24816"/>
                <a:gd name="T82" fmla="*/ 38 w 20899"/>
                <a:gd name="T83" fmla="*/ 21322 h 24816"/>
                <a:gd name="T84" fmla="*/ 944 w 20899"/>
                <a:gd name="T85" fmla="*/ 23148 h 24816"/>
                <a:gd name="T86" fmla="*/ 4388 w 20899"/>
                <a:gd name="T87" fmla="*/ 24811 h 24816"/>
                <a:gd name="T88" fmla="*/ 4856 w 20899"/>
                <a:gd name="T89" fmla="*/ 24816 h 24816"/>
                <a:gd name="T90" fmla="*/ 5756 w 20899"/>
                <a:gd name="T91" fmla="*/ 24796 h 24816"/>
                <a:gd name="T92" fmla="*/ 6291 w 20899"/>
                <a:gd name="T93" fmla="*/ 24757 h 24816"/>
                <a:gd name="T94" fmla="*/ 7234 w 20899"/>
                <a:gd name="T95" fmla="*/ 24266 h 24816"/>
                <a:gd name="T96" fmla="*/ 7330 w 20899"/>
                <a:gd name="T97" fmla="*/ 23437 h 24816"/>
                <a:gd name="T98" fmla="*/ 7330 w 20899"/>
                <a:gd name="T99" fmla="*/ 23186 h 24816"/>
                <a:gd name="T100" fmla="*/ 7299 w 20899"/>
                <a:gd name="T101" fmla="*/ 18175 h 24816"/>
                <a:gd name="T102" fmla="*/ 7621 w 20899"/>
                <a:gd name="T103" fmla="*/ 15253 h 24816"/>
                <a:gd name="T104" fmla="*/ 9653 w 20899"/>
                <a:gd name="T105" fmla="*/ 13652 h 24816"/>
                <a:gd name="T106" fmla="*/ 10936 w 20899"/>
                <a:gd name="T107" fmla="*/ 13607 h 24816"/>
                <a:gd name="T108" fmla="*/ 14288 w 20899"/>
                <a:gd name="T109" fmla="*/ 14941 h 24816"/>
                <a:gd name="T110" fmla="*/ 17357 w 20899"/>
                <a:gd name="T111" fmla="*/ 17469 h 24816"/>
                <a:gd name="T112" fmla="*/ 19639 w 20899"/>
                <a:gd name="T113" fmla="*/ 19376 h 24816"/>
                <a:gd name="T114" fmla="*/ 19270 w 20899"/>
                <a:gd name="T115" fmla="*/ 18677 h 24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899" h="24816">
                  <a:moveTo>
                    <a:pt x="19270" y="18677"/>
                  </a:moveTo>
                  <a:cubicBezTo>
                    <a:pt x="19104" y="18520"/>
                    <a:pt x="18922" y="18349"/>
                    <a:pt x="18726" y="18165"/>
                  </a:cubicBezTo>
                  <a:cubicBezTo>
                    <a:pt x="18527" y="17981"/>
                    <a:pt x="18315" y="17790"/>
                    <a:pt x="18099" y="17586"/>
                  </a:cubicBezTo>
                  <a:cubicBezTo>
                    <a:pt x="17662" y="17168"/>
                    <a:pt x="17188" y="16713"/>
                    <a:pt x="16704" y="16252"/>
                  </a:cubicBezTo>
                  <a:cubicBezTo>
                    <a:pt x="16133" y="15720"/>
                    <a:pt x="15543" y="15193"/>
                    <a:pt x="14905" y="14714"/>
                  </a:cubicBezTo>
                  <a:cubicBezTo>
                    <a:pt x="14267" y="14236"/>
                    <a:pt x="13579" y="13801"/>
                    <a:pt x="12823" y="13479"/>
                  </a:cubicBezTo>
                  <a:cubicBezTo>
                    <a:pt x="12070" y="13154"/>
                    <a:pt x="11228" y="12950"/>
                    <a:pt x="10381" y="12932"/>
                  </a:cubicBezTo>
                  <a:cubicBezTo>
                    <a:pt x="10169" y="12927"/>
                    <a:pt x="9940" y="12936"/>
                    <a:pt x="9723" y="12968"/>
                  </a:cubicBezTo>
                  <a:cubicBezTo>
                    <a:pt x="9505" y="13002"/>
                    <a:pt x="9290" y="13055"/>
                    <a:pt x="9083" y="13125"/>
                  </a:cubicBezTo>
                  <a:cubicBezTo>
                    <a:pt x="8669" y="13266"/>
                    <a:pt x="8286" y="13480"/>
                    <a:pt x="7957" y="13747"/>
                  </a:cubicBezTo>
                  <a:cubicBezTo>
                    <a:pt x="7315" y="14259"/>
                    <a:pt x="6820" y="15011"/>
                    <a:pt x="6630" y="15873"/>
                  </a:cubicBezTo>
                  <a:cubicBezTo>
                    <a:pt x="6582" y="16088"/>
                    <a:pt x="6553" y="16308"/>
                    <a:pt x="6544" y="16529"/>
                  </a:cubicBezTo>
                  <a:cubicBezTo>
                    <a:pt x="6540" y="16583"/>
                    <a:pt x="6539" y="16645"/>
                    <a:pt x="6539" y="16693"/>
                  </a:cubicBezTo>
                  <a:cubicBezTo>
                    <a:pt x="6538" y="16843"/>
                    <a:pt x="6538" y="16843"/>
                    <a:pt x="6538" y="16843"/>
                  </a:cubicBezTo>
                  <a:cubicBezTo>
                    <a:pt x="6537" y="16942"/>
                    <a:pt x="6536" y="17041"/>
                    <a:pt x="6535" y="17142"/>
                  </a:cubicBezTo>
                  <a:cubicBezTo>
                    <a:pt x="6532" y="17543"/>
                    <a:pt x="6529" y="17948"/>
                    <a:pt x="6526" y="18358"/>
                  </a:cubicBezTo>
                  <a:cubicBezTo>
                    <a:pt x="6516" y="19980"/>
                    <a:pt x="6506" y="21661"/>
                    <a:pt x="6496" y="23363"/>
                  </a:cubicBezTo>
                  <a:cubicBezTo>
                    <a:pt x="6495" y="23550"/>
                    <a:pt x="6495" y="23550"/>
                    <a:pt x="6495" y="23550"/>
                  </a:cubicBezTo>
                  <a:cubicBezTo>
                    <a:pt x="6494" y="23614"/>
                    <a:pt x="6492" y="23677"/>
                    <a:pt x="6471" y="23736"/>
                  </a:cubicBezTo>
                  <a:cubicBezTo>
                    <a:pt x="6452" y="23796"/>
                    <a:pt x="6407" y="23846"/>
                    <a:pt x="6349" y="23873"/>
                  </a:cubicBezTo>
                  <a:cubicBezTo>
                    <a:pt x="6292" y="23897"/>
                    <a:pt x="6228" y="23906"/>
                    <a:pt x="6166" y="23915"/>
                  </a:cubicBezTo>
                  <a:cubicBezTo>
                    <a:pt x="6104" y="23924"/>
                    <a:pt x="6041" y="23927"/>
                    <a:pt x="5979" y="23933"/>
                  </a:cubicBezTo>
                  <a:cubicBezTo>
                    <a:pt x="5885" y="23938"/>
                    <a:pt x="5885" y="23938"/>
                    <a:pt x="5885" y="23938"/>
                  </a:cubicBezTo>
                  <a:cubicBezTo>
                    <a:pt x="5730" y="23945"/>
                    <a:pt x="5730" y="23945"/>
                    <a:pt x="5730" y="23945"/>
                  </a:cubicBezTo>
                  <a:cubicBezTo>
                    <a:pt x="5521" y="23954"/>
                    <a:pt x="5309" y="23958"/>
                    <a:pt x="5096" y="23960"/>
                  </a:cubicBezTo>
                  <a:cubicBezTo>
                    <a:pt x="4774" y="23960"/>
                    <a:pt x="4774" y="23960"/>
                    <a:pt x="4774" y="23960"/>
                  </a:cubicBezTo>
                  <a:cubicBezTo>
                    <a:pt x="4615" y="23960"/>
                    <a:pt x="4615" y="23960"/>
                    <a:pt x="4615" y="23960"/>
                  </a:cubicBezTo>
                  <a:cubicBezTo>
                    <a:pt x="4567" y="23960"/>
                    <a:pt x="4520" y="23958"/>
                    <a:pt x="4472" y="23956"/>
                  </a:cubicBezTo>
                  <a:cubicBezTo>
                    <a:pt x="4282" y="23945"/>
                    <a:pt x="4091" y="23920"/>
                    <a:pt x="3901" y="23879"/>
                  </a:cubicBezTo>
                  <a:cubicBezTo>
                    <a:pt x="3522" y="23799"/>
                    <a:pt x="3148" y="23664"/>
                    <a:pt x="2799" y="23486"/>
                  </a:cubicBezTo>
                  <a:cubicBezTo>
                    <a:pt x="2104" y="23129"/>
                    <a:pt x="1490" y="22589"/>
                    <a:pt x="1146" y="21942"/>
                  </a:cubicBezTo>
                  <a:cubicBezTo>
                    <a:pt x="975" y="21621"/>
                    <a:pt x="876" y="21277"/>
                    <a:pt x="869" y="20931"/>
                  </a:cubicBezTo>
                  <a:cubicBezTo>
                    <a:pt x="865" y="20510"/>
                    <a:pt x="862" y="20094"/>
                    <a:pt x="859" y="19679"/>
                  </a:cubicBezTo>
                  <a:cubicBezTo>
                    <a:pt x="843" y="16677"/>
                    <a:pt x="827" y="13590"/>
                    <a:pt x="810" y="10472"/>
                  </a:cubicBezTo>
                  <a:cubicBezTo>
                    <a:pt x="801" y="7400"/>
                    <a:pt x="784" y="1744"/>
                    <a:pt x="784" y="1219"/>
                  </a:cubicBezTo>
                  <a:cubicBezTo>
                    <a:pt x="784" y="1042"/>
                    <a:pt x="826" y="889"/>
                    <a:pt x="893" y="826"/>
                  </a:cubicBezTo>
                  <a:cubicBezTo>
                    <a:pt x="963" y="760"/>
                    <a:pt x="1171" y="729"/>
                    <a:pt x="1271" y="729"/>
                  </a:cubicBezTo>
                  <a:cubicBezTo>
                    <a:pt x="1424" y="729"/>
                    <a:pt x="3653" y="724"/>
                    <a:pt x="4833" y="721"/>
                  </a:cubicBezTo>
                  <a:cubicBezTo>
                    <a:pt x="5295" y="720"/>
                    <a:pt x="5295" y="720"/>
                    <a:pt x="5295" y="720"/>
                  </a:cubicBezTo>
                  <a:cubicBezTo>
                    <a:pt x="5448" y="720"/>
                    <a:pt x="5605" y="716"/>
                    <a:pt x="5743" y="723"/>
                  </a:cubicBezTo>
                  <a:cubicBezTo>
                    <a:pt x="6032" y="736"/>
                    <a:pt x="6320" y="770"/>
                    <a:pt x="6604" y="823"/>
                  </a:cubicBezTo>
                  <a:cubicBezTo>
                    <a:pt x="7171" y="930"/>
                    <a:pt x="7719" y="1119"/>
                    <a:pt x="8228" y="1382"/>
                  </a:cubicBezTo>
                  <a:cubicBezTo>
                    <a:pt x="8737" y="1644"/>
                    <a:pt x="9203" y="1975"/>
                    <a:pt x="9619" y="2367"/>
                  </a:cubicBezTo>
                  <a:cubicBezTo>
                    <a:pt x="10057" y="2776"/>
                    <a:pt x="10493" y="3183"/>
                    <a:pt x="10925" y="3587"/>
                  </a:cubicBezTo>
                  <a:cubicBezTo>
                    <a:pt x="11791" y="4393"/>
                    <a:pt x="12646" y="5189"/>
                    <a:pt x="13487" y="5972"/>
                  </a:cubicBezTo>
                  <a:cubicBezTo>
                    <a:pt x="13843" y="6302"/>
                    <a:pt x="14186" y="6620"/>
                    <a:pt x="14516" y="6926"/>
                  </a:cubicBezTo>
                  <a:cubicBezTo>
                    <a:pt x="14681" y="7078"/>
                    <a:pt x="14843" y="7227"/>
                    <a:pt x="15000" y="7373"/>
                  </a:cubicBezTo>
                  <a:cubicBezTo>
                    <a:pt x="15040" y="7409"/>
                    <a:pt x="15079" y="7445"/>
                    <a:pt x="15118" y="7482"/>
                  </a:cubicBezTo>
                  <a:cubicBezTo>
                    <a:pt x="15171" y="7529"/>
                    <a:pt x="15171" y="7529"/>
                    <a:pt x="15171" y="7529"/>
                  </a:cubicBezTo>
                  <a:cubicBezTo>
                    <a:pt x="15228" y="7584"/>
                    <a:pt x="15228" y="7584"/>
                    <a:pt x="15228" y="7584"/>
                  </a:cubicBezTo>
                  <a:cubicBezTo>
                    <a:pt x="15305" y="7659"/>
                    <a:pt x="15381" y="7731"/>
                    <a:pt x="15458" y="7802"/>
                  </a:cubicBezTo>
                  <a:cubicBezTo>
                    <a:pt x="16071" y="8367"/>
                    <a:pt x="16670" y="8810"/>
                    <a:pt x="17201" y="9156"/>
                  </a:cubicBezTo>
                  <a:cubicBezTo>
                    <a:pt x="17732" y="9501"/>
                    <a:pt x="18195" y="9748"/>
                    <a:pt x="18552" y="9919"/>
                  </a:cubicBezTo>
                  <a:cubicBezTo>
                    <a:pt x="18909" y="10091"/>
                    <a:pt x="19159" y="10190"/>
                    <a:pt x="19276" y="10228"/>
                  </a:cubicBezTo>
                  <a:cubicBezTo>
                    <a:pt x="19727" y="10410"/>
                    <a:pt x="20068" y="10518"/>
                    <a:pt x="20309" y="10584"/>
                  </a:cubicBezTo>
                  <a:cubicBezTo>
                    <a:pt x="20549" y="10648"/>
                    <a:pt x="20681" y="10667"/>
                    <a:pt x="20704" y="10652"/>
                  </a:cubicBezTo>
                  <a:cubicBezTo>
                    <a:pt x="20728" y="10635"/>
                    <a:pt x="20641" y="10584"/>
                    <a:pt x="20445" y="10489"/>
                  </a:cubicBezTo>
                  <a:cubicBezTo>
                    <a:pt x="20247" y="10392"/>
                    <a:pt x="19988" y="10273"/>
                    <a:pt x="19526" y="10044"/>
                  </a:cubicBezTo>
                  <a:cubicBezTo>
                    <a:pt x="18945" y="9752"/>
                    <a:pt x="18115" y="9307"/>
                    <a:pt x="17174" y="8604"/>
                  </a:cubicBezTo>
                  <a:cubicBezTo>
                    <a:pt x="16703" y="8251"/>
                    <a:pt x="16207" y="7835"/>
                    <a:pt x="15710" y="7341"/>
                  </a:cubicBezTo>
                  <a:cubicBezTo>
                    <a:pt x="15647" y="7278"/>
                    <a:pt x="15583" y="7214"/>
                    <a:pt x="15519" y="7149"/>
                  </a:cubicBezTo>
                  <a:cubicBezTo>
                    <a:pt x="15453" y="7086"/>
                    <a:pt x="15388" y="7022"/>
                    <a:pt x="15321" y="6958"/>
                  </a:cubicBezTo>
                  <a:cubicBezTo>
                    <a:pt x="15188" y="6829"/>
                    <a:pt x="15053" y="6698"/>
                    <a:pt x="14916" y="6565"/>
                  </a:cubicBezTo>
                  <a:cubicBezTo>
                    <a:pt x="14640" y="6299"/>
                    <a:pt x="14355" y="6024"/>
                    <a:pt x="14062" y="5741"/>
                  </a:cubicBezTo>
                  <a:cubicBezTo>
                    <a:pt x="12879" y="4606"/>
                    <a:pt x="11557" y="3337"/>
                    <a:pt x="10126" y="1964"/>
                  </a:cubicBezTo>
                  <a:cubicBezTo>
                    <a:pt x="9948" y="1791"/>
                    <a:pt x="9748" y="1609"/>
                    <a:pt x="9540" y="1447"/>
                  </a:cubicBezTo>
                  <a:cubicBezTo>
                    <a:pt x="9332" y="1283"/>
                    <a:pt x="9112" y="1130"/>
                    <a:pt x="8881" y="990"/>
                  </a:cubicBezTo>
                  <a:cubicBezTo>
                    <a:pt x="8419" y="709"/>
                    <a:pt x="7914" y="480"/>
                    <a:pt x="7379" y="317"/>
                  </a:cubicBezTo>
                  <a:cubicBezTo>
                    <a:pt x="6844" y="152"/>
                    <a:pt x="6278" y="55"/>
                    <a:pt x="5702" y="30"/>
                  </a:cubicBezTo>
                  <a:cubicBezTo>
                    <a:pt x="5592" y="28"/>
                    <a:pt x="5592" y="28"/>
                    <a:pt x="5592" y="28"/>
                  </a:cubicBezTo>
                  <a:cubicBezTo>
                    <a:pt x="5488" y="27"/>
                    <a:pt x="5488" y="27"/>
                    <a:pt x="5488" y="27"/>
                  </a:cubicBezTo>
                  <a:cubicBezTo>
                    <a:pt x="5281" y="25"/>
                    <a:pt x="5281" y="25"/>
                    <a:pt x="5281" y="25"/>
                  </a:cubicBezTo>
                  <a:cubicBezTo>
                    <a:pt x="5143" y="24"/>
                    <a:pt x="5004" y="23"/>
                    <a:pt x="4865" y="22"/>
                  </a:cubicBezTo>
                  <a:cubicBezTo>
                    <a:pt x="4587" y="20"/>
                    <a:pt x="4306" y="19"/>
                    <a:pt x="4025" y="17"/>
                  </a:cubicBezTo>
                  <a:cubicBezTo>
                    <a:pt x="3027" y="11"/>
                    <a:pt x="1835" y="0"/>
                    <a:pt x="969" y="0"/>
                  </a:cubicBezTo>
                  <a:cubicBezTo>
                    <a:pt x="474" y="0"/>
                    <a:pt x="47" y="259"/>
                    <a:pt x="47" y="915"/>
                  </a:cubicBezTo>
                  <a:cubicBezTo>
                    <a:pt x="47" y="1282"/>
                    <a:pt x="42" y="2101"/>
                    <a:pt x="39" y="2693"/>
                  </a:cubicBezTo>
                  <a:cubicBezTo>
                    <a:pt x="12" y="7527"/>
                    <a:pt x="0" y="12582"/>
                    <a:pt x="2" y="17555"/>
                  </a:cubicBezTo>
                  <a:cubicBezTo>
                    <a:pt x="3" y="18177"/>
                    <a:pt x="3" y="18796"/>
                    <a:pt x="4" y="19416"/>
                  </a:cubicBezTo>
                  <a:cubicBezTo>
                    <a:pt x="5" y="19724"/>
                    <a:pt x="5" y="20033"/>
                    <a:pt x="5" y="20341"/>
                  </a:cubicBezTo>
                  <a:cubicBezTo>
                    <a:pt x="6" y="20803"/>
                    <a:pt x="6" y="20803"/>
                    <a:pt x="6" y="20803"/>
                  </a:cubicBezTo>
                  <a:cubicBezTo>
                    <a:pt x="6" y="20923"/>
                    <a:pt x="6" y="20923"/>
                    <a:pt x="6" y="20923"/>
                  </a:cubicBezTo>
                  <a:cubicBezTo>
                    <a:pt x="7" y="20967"/>
                    <a:pt x="8" y="21012"/>
                    <a:pt x="12" y="21057"/>
                  </a:cubicBezTo>
                  <a:cubicBezTo>
                    <a:pt x="16" y="21145"/>
                    <a:pt x="26" y="21233"/>
                    <a:pt x="38" y="21322"/>
                  </a:cubicBezTo>
                  <a:cubicBezTo>
                    <a:pt x="91" y="21673"/>
                    <a:pt x="206" y="22009"/>
                    <a:pt x="364" y="22315"/>
                  </a:cubicBezTo>
                  <a:cubicBezTo>
                    <a:pt x="521" y="22622"/>
                    <a:pt x="721" y="22900"/>
                    <a:pt x="944" y="23148"/>
                  </a:cubicBezTo>
                  <a:cubicBezTo>
                    <a:pt x="1393" y="23644"/>
                    <a:pt x="1935" y="24028"/>
                    <a:pt x="2519" y="24311"/>
                  </a:cubicBezTo>
                  <a:cubicBezTo>
                    <a:pt x="3103" y="24591"/>
                    <a:pt x="3734" y="24773"/>
                    <a:pt x="4388" y="24811"/>
                  </a:cubicBezTo>
                  <a:cubicBezTo>
                    <a:pt x="4469" y="24816"/>
                    <a:pt x="4551" y="24816"/>
                    <a:pt x="4633" y="24816"/>
                  </a:cubicBezTo>
                  <a:cubicBezTo>
                    <a:pt x="4856" y="24816"/>
                    <a:pt x="4856" y="24816"/>
                    <a:pt x="4856" y="24816"/>
                  </a:cubicBezTo>
                  <a:cubicBezTo>
                    <a:pt x="5006" y="24814"/>
                    <a:pt x="5156" y="24813"/>
                    <a:pt x="5305" y="24811"/>
                  </a:cubicBezTo>
                  <a:cubicBezTo>
                    <a:pt x="5455" y="24807"/>
                    <a:pt x="5605" y="24804"/>
                    <a:pt x="5756" y="24796"/>
                  </a:cubicBezTo>
                  <a:cubicBezTo>
                    <a:pt x="5998" y="24782"/>
                    <a:pt x="5998" y="24782"/>
                    <a:pt x="5998" y="24782"/>
                  </a:cubicBezTo>
                  <a:cubicBezTo>
                    <a:pt x="6096" y="24777"/>
                    <a:pt x="6194" y="24768"/>
                    <a:pt x="6291" y="24757"/>
                  </a:cubicBezTo>
                  <a:cubicBezTo>
                    <a:pt x="6485" y="24735"/>
                    <a:pt x="6675" y="24703"/>
                    <a:pt x="6843" y="24634"/>
                  </a:cubicBezTo>
                  <a:cubicBezTo>
                    <a:pt x="7012" y="24575"/>
                    <a:pt x="7164" y="24436"/>
                    <a:pt x="7234" y="24266"/>
                  </a:cubicBezTo>
                  <a:cubicBezTo>
                    <a:pt x="7306" y="24099"/>
                    <a:pt x="7327" y="23918"/>
                    <a:pt x="7327" y="23725"/>
                  </a:cubicBezTo>
                  <a:cubicBezTo>
                    <a:pt x="7330" y="23437"/>
                    <a:pt x="7330" y="23437"/>
                    <a:pt x="7330" y="23437"/>
                  </a:cubicBezTo>
                  <a:cubicBezTo>
                    <a:pt x="7331" y="23294"/>
                    <a:pt x="7331" y="23294"/>
                    <a:pt x="7331" y="23294"/>
                  </a:cubicBezTo>
                  <a:cubicBezTo>
                    <a:pt x="7330" y="23186"/>
                    <a:pt x="7330" y="23186"/>
                    <a:pt x="7330" y="23186"/>
                  </a:cubicBezTo>
                  <a:cubicBezTo>
                    <a:pt x="7327" y="22611"/>
                    <a:pt x="7324" y="22041"/>
                    <a:pt x="7321" y="21479"/>
                  </a:cubicBezTo>
                  <a:cubicBezTo>
                    <a:pt x="7313" y="20354"/>
                    <a:pt x="7306" y="19250"/>
                    <a:pt x="7299" y="18175"/>
                  </a:cubicBezTo>
                  <a:cubicBezTo>
                    <a:pt x="7295" y="17642"/>
                    <a:pt x="7291" y="17114"/>
                    <a:pt x="7287" y="16594"/>
                  </a:cubicBezTo>
                  <a:cubicBezTo>
                    <a:pt x="7293" y="16122"/>
                    <a:pt x="7411" y="15660"/>
                    <a:pt x="7621" y="15253"/>
                  </a:cubicBezTo>
                  <a:cubicBezTo>
                    <a:pt x="7829" y="14842"/>
                    <a:pt x="8128" y="14486"/>
                    <a:pt x="8479" y="14214"/>
                  </a:cubicBezTo>
                  <a:cubicBezTo>
                    <a:pt x="8830" y="13938"/>
                    <a:pt x="9235" y="13747"/>
                    <a:pt x="9653" y="13652"/>
                  </a:cubicBezTo>
                  <a:cubicBezTo>
                    <a:pt x="9862" y="13603"/>
                    <a:pt x="10074" y="13579"/>
                    <a:pt x="10285" y="13576"/>
                  </a:cubicBezTo>
                  <a:cubicBezTo>
                    <a:pt x="10504" y="13574"/>
                    <a:pt x="10722" y="13585"/>
                    <a:pt x="10936" y="13607"/>
                  </a:cubicBezTo>
                  <a:cubicBezTo>
                    <a:pt x="11364" y="13652"/>
                    <a:pt x="11777" y="13744"/>
                    <a:pt x="12171" y="13872"/>
                  </a:cubicBezTo>
                  <a:cubicBezTo>
                    <a:pt x="12959" y="14129"/>
                    <a:pt x="13662" y="14521"/>
                    <a:pt x="14288" y="14941"/>
                  </a:cubicBezTo>
                  <a:cubicBezTo>
                    <a:pt x="14916" y="15365"/>
                    <a:pt x="15471" y="15817"/>
                    <a:pt x="15976" y="16248"/>
                  </a:cubicBezTo>
                  <a:cubicBezTo>
                    <a:pt x="16481" y="16683"/>
                    <a:pt x="16937" y="17097"/>
                    <a:pt x="17357" y="17469"/>
                  </a:cubicBezTo>
                  <a:cubicBezTo>
                    <a:pt x="17774" y="17842"/>
                    <a:pt x="18164" y="18167"/>
                    <a:pt x="18503" y="18446"/>
                  </a:cubicBezTo>
                  <a:cubicBezTo>
                    <a:pt x="19023" y="18881"/>
                    <a:pt x="19326" y="19126"/>
                    <a:pt x="19639" y="19376"/>
                  </a:cubicBezTo>
                  <a:cubicBezTo>
                    <a:pt x="20570" y="20123"/>
                    <a:pt x="20899" y="20301"/>
                    <a:pt x="20529" y="19887"/>
                  </a:cubicBezTo>
                  <a:cubicBezTo>
                    <a:pt x="20142" y="19515"/>
                    <a:pt x="19773" y="19160"/>
                    <a:pt x="19270" y="18677"/>
                  </a:cubicBezTo>
                  <a:close/>
                </a:path>
              </a:pathLst>
            </a:custGeom>
            <a:solidFill>
              <a:srgbClr val="FFC8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8"/>
            <p:cNvSpPr>
              <a:spLocks/>
            </p:cNvSpPr>
            <p:nvPr userDrawn="1"/>
          </p:nvSpPr>
          <p:spPr bwMode="auto">
            <a:xfrm>
              <a:off x="-84872512" y="18689638"/>
              <a:ext cx="193840100" cy="97202625"/>
            </a:xfrm>
            <a:custGeom>
              <a:avLst/>
              <a:gdLst>
                <a:gd name="T0" fmla="*/ 51193 w 51688"/>
                <a:gd name="T1" fmla="*/ 12114 h 25918"/>
                <a:gd name="T2" fmla="*/ 50914 w 51688"/>
                <a:gd name="T3" fmla="*/ 20947 h 25918"/>
                <a:gd name="T4" fmla="*/ 50844 w 51688"/>
                <a:gd name="T5" fmla="*/ 23850 h 25918"/>
                <a:gd name="T6" fmla="*/ 50505 w 51688"/>
                <a:gd name="T7" fmla="*/ 24445 h 25918"/>
                <a:gd name="T8" fmla="*/ 48987 w 51688"/>
                <a:gd name="T9" fmla="*/ 24463 h 25918"/>
                <a:gd name="T10" fmla="*/ 45339 w 51688"/>
                <a:gd name="T11" fmla="*/ 21852 h 25918"/>
                <a:gd name="T12" fmla="*/ 45301 w 51688"/>
                <a:gd name="T13" fmla="*/ 21010 h 25918"/>
                <a:gd name="T14" fmla="*/ 45363 w 51688"/>
                <a:gd name="T15" fmla="*/ 17166 h 25918"/>
                <a:gd name="T16" fmla="*/ 43529 w 51688"/>
                <a:gd name="T17" fmla="*/ 13729 h 25918"/>
                <a:gd name="T18" fmla="*/ 37130 w 51688"/>
                <a:gd name="T19" fmla="*/ 14411 h 25918"/>
                <a:gd name="T20" fmla="*/ 30094 w 51688"/>
                <a:gd name="T21" fmla="*/ 20457 h 25918"/>
                <a:gd name="T22" fmla="*/ 23874 w 51688"/>
                <a:gd name="T23" fmla="*/ 21719 h 25918"/>
                <a:gd name="T24" fmla="*/ 17941 w 51688"/>
                <a:gd name="T25" fmla="*/ 16609 h 25918"/>
                <a:gd name="T26" fmla="*/ 10865 w 51688"/>
                <a:gd name="T27" fmla="*/ 12900 h 25918"/>
                <a:gd name="T28" fmla="*/ 6612 w 51688"/>
                <a:gd name="T29" fmla="*/ 16813 h 25918"/>
                <a:gd name="T30" fmla="*/ 6590 w 51688"/>
                <a:gd name="T31" fmla="*/ 20356 h 25918"/>
                <a:gd name="T32" fmla="*/ 6581 w 51688"/>
                <a:gd name="T33" fmla="*/ 23906 h 25918"/>
                <a:gd name="T34" fmla="*/ 6161 w 51688"/>
                <a:gd name="T35" fmla="*/ 23989 h 25918"/>
                <a:gd name="T36" fmla="*/ 4007 w 51688"/>
                <a:gd name="T37" fmla="*/ 23765 h 25918"/>
                <a:gd name="T38" fmla="*/ 1918 w 51688"/>
                <a:gd name="T39" fmla="*/ 21416 h 25918"/>
                <a:gd name="T40" fmla="*/ 1924 w 51688"/>
                <a:gd name="T41" fmla="*/ 17736 h 25918"/>
                <a:gd name="T42" fmla="*/ 5415 w 51688"/>
                <a:gd name="T43" fmla="*/ 1838 h 25918"/>
                <a:gd name="T44" fmla="*/ 8570 w 51688"/>
                <a:gd name="T45" fmla="*/ 2470 h 25918"/>
                <a:gd name="T46" fmla="*/ 10305 w 51688"/>
                <a:gd name="T47" fmla="*/ 3841 h 25918"/>
                <a:gd name="T48" fmla="*/ 15418 w 51688"/>
                <a:gd name="T49" fmla="*/ 8605 h 25918"/>
                <a:gd name="T50" fmla="*/ 18027 w 51688"/>
                <a:gd name="T51" fmla="*/ 10592 h 25918"/>
                <a:gd name="T52" fmla="*/ 31601 w 51688"/>
                <a:gd name="T53" fmla="*/ 11637 h 25918"/>
                <a:gd name="T54" fmla="*/ 37074 w 51688"/>
                <a:gd name="T55" fmla="*/ 7875 h 25918"/>
                <a:gd name="T56" fmla="*/ 43442 w 51688"/>
                <a:gd name="T57" fmla="*/ 1444 h 25918"/>
                <a:gd name="T58" fmla="*/ 44433 w 51688"/>
                <a:gd name="T59" fmla="*/ 867 h 25918"/>
                <a:gd name="T60" fmla="*/ 41873 w 51688"/>
                <a:gd name="T61" fmla="*/ 2007 h 25918"/>
                <a:gd name="T62" fmla="*/ 34512 w 51688"/>
                <a:gd name="T63" fmla="*/ 8591 h 25918"/>
                <a:gd name="T64" fmla="*/ 18064 w 51688"/>
                <a:gd name="T65" fmla="*/ 8699 h 25918"/>
                <a:gd name="T66" fmla="*/ 16455 w 51688"/>
                <a:gd name="T67" fmla="*/ 7314 h 25918"/>
                <a:gd name="T68" fmla="*/ 11277 w 51688"/>
                <a:gd name="T69" fmla="*/ 2358 h 25918"/>
                <a:gd name="T70" fmla="*/ 9968 w 51688"/>
                <a:gd name="T71" fmla="*/ 1251 h 25918"/>
                <a:gd name="T72" fmla="*/ 6274 w 51688"/>
                <a:gd name="T73" fmla="*/ 41 h 25918"/>
                <a:gd name="T74" fmla="*/ 1317 w 51688"/>
                <a:gd name="T75" fmla="*/ 0 h 25918"/>
                <a:gd name="T76" fmla="*/ 11 w 51688"/>
                <a:gd name="T77" fmla="*/ 17772 h 25918"/>
                <a:gd name="T78" fmla="*/ 0 w 51688"/>
                <a:gd name="T79" fmla="*/ 21416 h 25918"/>
                <a:gd name="T80" fmla="*/ 1005 w 51688"/>
                <a:gd name="T81" fmla="*/ 23958 h 25918"/>
                <a:gd name="T82" fmla="*/ 5092 w 51688"/>
                <a:gd name="T83" fmla="*/ 25916 h 25918"/>
                <a:gd name="T84" fmla="*/ 6511 w 51688"/>
                <a:gd name="T85" fmla="*/ 25895 h 25918"/>
                <a:gd name="T86" fmla="*/ 8198 w 51688"/>
                <a:gd name="T87" fmla="*/ 25276 h 25918"/>
                <a:gd name="T88" fmla="*/ 8502 w 51688"/>
                <a:gd name="T89" fmla="*/ 23762 h 25918"/>
                <a:gd name="T90" fmla="*/ 8557 w 51688"/>
                <a:gd name="T91" fmla="*/ 16688 h 25918"/>
                <a:gd name="T92" fmla="*/ 10853 w 51688"/>
                <a:gd name="T93" fmla="*/ 14797 h 25918"/>
                <a:gd name="T94" fmla="*/ 15826 w 51688"/>
                <a:gd name="T95" fmla="*/ 17211 h 25918"/>
                <a:gd name="T96" fmla="*/ 21145 w 51688"/>
                <a:gd name="T97" fmla="*/ 21991 h 25918"/>
                <a:gd name="T98" fmla="*/ 27122 w 51688"/>
                <a:gd name="T99" fmla="*/ 24126 h 25918"/>
                <a:gd name="T100" fmla="*/ 33687 w 51688"/>
                <a:gd name="T101" fmla="*/ 19580 h 25918"/>
                <a:gd name="T102" fmla="*/ 36635 w 51688"/>
                <a:gd name="T103" fmla="*/ 16860 h 25918"/>
                <a:gd name="T104" fmla="*/ 41719 w 51688"/>
                <a:gd name="T105" fmla="*/ 14653 h 25918"/>
                <a:gd name="T106" fmla="*/ 43934 w 51688"/>
                <a:gd name="T107" fmla="*/ 17121 h 25918"/>
                <a:gd name="T108" fmla="*/ 43997 w 51688"/>
                <a:gd name="T109" fmla="*/ 21110 h 25918"/>
                <a:gd name="T110" fmla="*/ 45236 w 51688"/>
                <a:gd name="T111" fmla="*/ 23985 h 25918"/>
                <a:gd name="T112" fmla="*/ 49854 w 51688"/>
                <a:gd name="T113" fmla="*/ 25433 h 25918"/>
                <a:gd name="T114" fmla="*/ 51257 w 51688"/>
                <a:gd name="T115" fmla="*/ 25177 h 25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688" h="25918">
                  <a:moveTo>
                    <a:pt x="51664" y="23906"/>
                  </a:moveTo>
                  <a:cubicBezTo>
                    <a:pt x="51635" y="23199"/>
                    <a:pt x="51608" y="22500"/>
                    <a:pt x="51578" y="21732"/>
                  </a:cubicBezTo>
                  <a:cubicBezTo>
                    <a:pt x="51484" y="19205"/>
                    <a:pt x="51403" y="14714"/>
                    <a:pt x="51323" y="12763"/>
                  </a:cubicBezTo>
                  <a:cubicBezTo>
                    <a:pt x="51279" y="11681"/>
                    <a:pt x="51235" y="11093"/>
                    <a:pt x="51193" y="12114"/>
                  </a:cubicBezTo>
                  <a:cubicBezTo>
                    <a:pt x="51175" y="12485"/>
                    <a:pt x="51163" y="12745"/>
                    <a:pt x="51144" y="13143"/>
                  </a:cubicBezTo>
                  <a:cubicBezTo>
                    <a:pt x="51083" y="14231"/>
                    <a:pt x="51046" y="17121"/>
                    <a:pt x="50983" y="18591"/>
                  </a:cubicBezTo>
                  <a:cubicBezTo>
                    <a:pt x="50979" y="18666"/>
                    <a:pt x="50977" y="18737"/>
                    <a:pt x="50975" y="18805"/>
                  </a:cubicBezTo>
                  <a:cubicBezTo>
                    <a:pt x="50955" y="19498"/>
                    <a:pt x="50936" y="20186"/>
                    <a:pt x="50914" y="20947"/>
                  </a:cubicBezTo>
                  <a:cubicBezTo>
                    <a:pt x="50910" y="21081"/>
                    <a:pt x="50907" y="21227"/>
                    <a:pt x="50903" y="21371"/>
                  </a:cubicBezTo>
                  <a:cubicBezTo>
                    <a:pt x="50891" y="21858"/>
                    <a:pt x="50880" y="22361"/>
                    <a:pt x="50867" y="22880"/>
                  </a:cubicBezTo>
                  <a:cubicBezTo>
                    <a:pt x="50860" y="23141"/>
                    <a:pt x="50854" y="23407"/>
                    <a:pt x="50847" y="23677"/>
                  </a:cubicBezTo>
                  <a:cubicBezTo>
                    <a:pt x="50846" y="23735"/>
                    <a:pt x="50845" y="23792"/>
                    <a:pt x="50844" y="23850"/>
                  </a:cubicBezTo>
                  <a:cubicBezTo>
                    <a:pt x="50842" y="23893"/>
                    <a:pt x="50840" y="23937"/>
                    <a:pt x="50838" y="23980"/>
                  </a:cubicBezTo>
                  <a:cubicBezTo>
                    <a:pt x="50835" y="24067"/>
                    <a:pt x="50836" y="24153"/>
                    <a:pt x="50817" y="24236"/>
                  </a:cubicBezTo>
                  <a:cubicBezTo>
                    <a:pt x="50800" y="24301"/>
                    <a:pt x="50763" y="24360"/>
                    <a:pt x="50703" y="24396"/>
                  </a:cubicBezTo>
                  <a:cubicBezTo>
                    <a:pt x="50644" y="24433"/>
                    <a:pt x="50571" y="24436"/>
                    <a:pt x="50505" y="24445"/>
                  </a:cubicBezTo>
                  <a:cubicBezTo>
                    <a:pt x="50435" y="24452"/>
                    <a:pt x="50366" y="24456"/>
                    <a:pt x="50297" y="24460"/>
                  </a:cubicBezTo>
                  <a:cubicBezTo>
                    <a:pt x="50213" y="24463"/>
                    <a:pt x="50126" y="24465"/>
                    <a:pt x="50040" y="24467"/>
                  </a:cubicBezTo>
                  <a:cubicBezTo>
                    <a:pt x="49814" y="24472"/>
                    <a:pt x="49582" y="24472"/>
                    <a:pt x="49345" y="24470"/>
                  </a:cubicBezTo>
                  <a:cubicBezTo>
                    <a:pt x="49226" y="24469"/>
                    <a:pt x="49107" y="24465"/>
                    <a:pt x="48987" y="24463"/>
                  </a:cubicBezTo>
                  <a:cubicBezTo>
                    <a:pt x="48880" y="24460"/>
                    <a:pt x="48772" y="24451"/>
                    <a:pt x="48662" y="24438"/>
                  </a:cubicBezTo>
                  <a:cubicBezTo>
                    <a:pt x="48222" y="24382"/>
                    <a:pt x="47767" y="24243"/>
                    <a:pt x="47328" y="24030"/>
                  </a:cubicBezTo>
                  <a:cubicBezTo>
                    <a:pt x="46890" y="23818"/>
                    <a:pt x="46466" y="23529"/>
                    <a:pt x="46109" y="23169"/>
                  </a:cubicBezTo>
                  <a:cubicBezTo>
                    <a:pt x="45741" y="22799"/>
                    <a:pt x="45445" y="22341"/>
                    <a:pt x="45339" y="21852"/>
                  </a:cubicBezTo>
                  <a:cubicBezTo>
                    <a:pt x="45312" y="21730"/>
                    <a:pt x="45297" y="21605"/>
                    <a:pt x="45295" y="21481"/>
                  </a:cubicBezTo>
                  <a:cubicBezTo>
                    <a:pt x="45294" y="21448"/>
                    <a:pt x="45295" y="21423"/>
                    <a:pt x="45295" y="21385"/>
                  </a:cubicBezTo>
                  <a:cubicBezTo>
                    <a:pt x="45297" y="21261"/>
                    <a:pt x="45297" y="21261"/>
                    <a:pt x="45297" y="21261"/>
                  </a:cubicBezTo>
                  <a:cubicBezTo>
                    <a:pt x="45298" y="21178"/>
                    <a:pt x="45299" y="21095"/>
                    <a:pt x="45301" y="21010"/>
                  </a:cubicBezTo>
                  <a:cubicBezTo>
                    <a:pt x="45307" y="20677"/>
                    <a:pt x="45313" y="20336"/>
                    <a:pt x="45319" y="19992"/>
                  </a:cubicBezTo>
                  <a:cubicBezTo>
                    <a:pt x="45330" y="19301"/>
                    <a:pt x="45341" y="18589"/>
                    <a:pt x="45353" y="17859"/>
                  </a:cubicBezTo>
                  <a:cubicBezTo>
                    <a:pt x="45355" y="17675"/>
                    <a:pt x="45359" y="17491"/>
                    <a:pt x="45361" y="17305"/>
                  </a:cubicBezTo>
                  <a:cubicBezTo>
                    <a:pt x="45363" y="17166"/>
                    <a:pt x="45363" y="17166"/>
                    <a:pt x="45363" y="17166"/>
                  </a:cubicBezTo>
                  <a:cubicBezTo>
                    <a:pt x="45364" y="17114"/>
                    <a:pt x="45364" y="17051"/>
                    <a:pt x="45361" y="16997"/>
                  </a:cubicBezTo>
                  <a:cubicBezTo>
                    <a:pt x="45359" y="16885"/>
                    <a:pt x="45351" y="16773"/>
                    <a:pt x="45337" y="16659"/>
                  </a:cubicBezTo>
                  <a:cubicBezTo>
                    <a:pt x="45286" y="16210"/>
                    <a:pt x="45157" y="15763"/>
                    <a:pt x="44951" y="15347"/>
                  </a:cubicBezTo>
                  <a:cubicBezTo>
                    <a:pt x="44641" y="14710"/>
                    <a:pt x="44153" y="14142"/>
                    <a:pt x="43529" y="13729"/>
                  </a:cubicBezTo>
                  <a:cubicBezTo>
                    <a:pt x="43217" y="13524"/>
                    <a:pt x="42870" y="13356"/>
                    <a:pt x="42500" y="13244"/>
                  </a:cubicBezTo>
                  <a:cubicBezTo>
                    <a:pt x="42132" y="13129"/>
                    <a:pt x="41736" y="13070"/>
                    <a:pt x="41345" y="13070"/>
                  </a:cubicBezTo>
                  <a:cubicBezTo>
                    <a:pt x="40618" y="13064"/>
                    <a:pt x="39871" y="13185"/>
                    <a:pt x="39158" y="13423"/>
                  </a:cubicBezTo>
                  <a:cubicBezTo>
                    <a:pt x="38444" y="13659"/>
                    <a:pt x="37766" y="14004"/>
                    <a:pt x="37130" y="14411"/>
                  </a:cubicBezTo>
                  <a:cubicBezTo>
                    <a:pt x="35856" y="15224"/>
                    <a:pt x="34747" y="16279"/>
                    <a:pt x="33632" y="17309"/>
                  </a:cubicBezTo>
                  <a:cubicBezTo>
                    <a:pt x="33352" y="17568"/>
                    <a:pt x="33076" y="17819"/>
                    <a:pt x="32788" y="18071"/>
                  </a:cubicBezTo>
                  <a:cubicBezTo>
                    <a:pt x="32489" y="18331"/>
                    <a:pt x="32193" y="18598"/>
                    <a:pt x="31896" y="18865"/>
                  </a:cubicBezTo>
                  <a:cubicBezTo>
                    <a:pt x="31302" y="19398"/>
                    <a:pt x="30707" y="19941"/>
                    <a:pt x="30094" y="20457"/>
                  </a:cubicBezTo>
                  <a:cubicBezTo>
                    <a:pt x="29605" y="20868"/>
                    <a:pt x="29109" y="21256"/>
                    <a:pt x="28599" y="21580"/>
                  </a:cubicBezTo>
                  <a:cubicBezTo>
                    <a:pt x="28089" y="21905"/>
                    <a:pt x="27564" y="22164"/>
                    <a:pt x="27036" y="22305"/>
                  </a:cubicBezTo>
                  <a:cubicBezTo>
                    <a:pt x="26508" y="22447"/>
                    <a:pt x="25974" y="22467"/>
                    <a:pt x="25446" y="22361"/>
                  </a:cubicBezTo>
                  <a:cubicBezTo>
                    <a:pt x="24916" y="22256"/>
                    <a:pt x="24388" y="22025"/>
                    <a:pt x="23874" y="21719"/>
                  </a:cubicBezTo>
                  <a:cubicBezTo>
                    <a:pt x="23359" y="21411"/>
                    <a:pt x="22857" y="21030"/>
                    <a:pt x="22363" y="20619"/>
                  </a:cubicBezTo>
                  <a:cubicBezTo>
                    <a:pt x="21869" y="20210"/>
                    <a:pt x="21381" y="19768"/>
                    <a:pt x="20890" y="19319"/>
                  </a:cubicBezTo>
                  <a:cubicBezTo>
                    <a:pt x="20399" y="18872"/>
                    <a:pt x="19902" y="18412"/>
                    <a:pt x="19394" y="17963"/>
                  </a:cubicBezTo>
                  <a:cubicBezTo>
                    <a:pt x="18914" y="17534"/>
                    <a:pt x="18435" y="17072"/>
                    <a:pt x="17941" y="16609"/>
                  </a:cubicBezTo>
                  <a:cubicBezTo>
                    <a:pt x="16954" y="15686"/>
                    <a:pt x="15906" y="14737"/>
                    <a:pt x="14638" y="13998"/>
                  </a:cubicBezTo>
                  <a:cubicBezTo>
                    <a:pt x="14005" y="13632"/>
                    <a:pt x="13313" y="13322"/>
                    <a:pt x="12574" y="13129"/>
                  </a:cubicBezTo>
                  <a:cubicBezTo>
                    <a:pt x="12205" y="13032"/>
                    <a:pt x="11825" y="12963"/>
                    <a:pt x="11442" y="12929"/>
                  </a:cubicBezTo>
                  <a:cubicBezTo>
                    <a:pt x="11250" y="12911"/>
                    <a:pt x="11058" y="12900"/>
                    <a:pt x="10865" y="12900"/>
                  </a:cubicBezTo>
                  <a:cubicBezTo>
                    <a:pt x="10658" y="12898"/>
                    <a:pt x="10440" y="12913"/>
                    <a:pt x="10229" y="12943"/>
                  </a:cubicBezTo>
                  <a:cubicBezTo>
                    <a:pt x="9381" y="13066"/>
                    <a:pt x="8585" y="13459"/>
                    <a:pt x="7970" y="14036"/>
                  </a:cubicBezTo>
                  <a:cubicBezTo>
                    <a:pt x="7353" y="14608"/>
                    <a:pt x="6907" y="15365"/>
                    <a:pt x="6712" y="16189"/>
                  </a:cubicBezTo>
                  <a:cubicBezTo>
                    <a:pt x="6663" y="16394"/>
                    <a:pt x="6630" y="16604"/>
                    <a:pt x="6612" y="16813"/>
                  </a:cubicBezTo>
                  <a:cubicBezTo>
                    <a:pt x="6603" y="16919"/>
                    <a:pt x="6597" y="17024"/>
                    <a:pt x="6597" y="17130"/>
                  </a:cubicBezTo>
                  <a:cubicBezTo>
                    <a:pt x="6596" y="17386"/>
                    <a:pt x="6596" y="17386"/>
                    <a:pt x="6596" y="17386"/>
                  </a:cubicBezTo>
                  <a:cubicBezTo>
                    <a:pt x="6594" y="17718"/>
                    <a:pt x="6594" y="18048"/>
                    <a:pt x="6594" y="18378"/>
                  </a:cubicBezTo>
                  <a:cubicBezTo>
                    <a:pt x="6592" y="19038"/>
                    <a:pt x="6591" y="19698"/>
                    <a:pt x="6590" y="20356"/>
                  </a:cubicBezTo>
                  <a:cubicBezTo>
                    <a:pt x="6587" y="22400"/>
                    <a:pt x="6587" y="22400"/>
                    <a:pt x="6587" y="22400"/>
                  </a:cubicBezTo>
                  <a:cubicBezTo>
                    <a:pt x="6585" y="23423"/>
                    <a:pt x="6585" y="23423"/>
                    <a:pt x="6585" y="23423"/>
                  </a:cubicBezTo>
                  <a:cubicBezTo>
                    <a:pt x="6584" y="23823"/>
                    <a:pt x="6584" y="23823"/>
                    <a:pt x="6584" y="23823"/>
                  </a:cubicBezTo>
                  <a:cubicBezTo>
                    <a:pt x="6583" y="23852"/>
                    <a:pt x="6585" y="23879"/>
                    <a:pt x="6581" y="23906"/>
                  </a:cubicBezTo>
                  <a:cubicBezTo>
                    <a:pt x="6578" y="23933"/>
                    <a:pt x="6560" y="23958"/>
                    <a:pt x="6533" y="23966"/>
                  </a:cubicBezTo>
                  <a:cubicBezTo>
                    <a:pt x="6507" y="23971"/>
                    <a:pt x="6479" y="23975"/>
                    <a:pt x="6452" y="23976"/>
                  </a:cubicBezTo>
                  <a:cubicBezTo>
                    <a:pt x="6398" y="23980"/>
                    <a:pt x="6398" y="23980"/>
                    <a:pt x="6398" y="23980"/>
                  </a:cubicBezTo>
                  <a:cubicBezTo>
                    <a:pt x="6161" y="23989"/>
                    <a:pt x="6161" y="23989"/>
                    <a:pt x="6161" y="23989"/>
                  </a:cubicBezTo>
                  <a:cubicBezTo>
                    <a:pt x="6002" y="23994"/>
                    <a:pt x="5839" y="23998"/>
                    <a:pt x="5674" y="23998"/>
                  </a:cubicBezTo>
                  <a:cubicBezTo>
                    <a:pt x="5178" y="23998"/>
                    <a:pt x="5178" y="23998"/>
                    <a:pt x="5178" y="23998"/>
                  </a:cubicBezTo>
                  <a:cubicBezTo>
                    <a:pt x="5051" y="23998"/>
                    <a:pt x="4922" y="23987"/>
                    <a:pt x="4791" y="23969"/>
                  </a:cubicBezTo>
                  <a:cubicBezTo>
                    <a:pt x="4530" y="23933"/>
                    <a:pt x="4264" y="23863"/>
                    <a:pt x="4007" y="23765"/>
                  </a:cubicBezTo>
                  <a:cubicBezTo>
                    <a:pt x="3492" y="23572"/>
                    <a:pt x="3005" y="23268"/>
                    <a:pt x="2631" y="22893"/>
                  </a:cubicBezTo>
                  <a:cubicBezTo>
                    <a:pt x="2256" y="22519"/>
                    <a:pt x="2002" y="22078"/>
                    <a:pt x="1938" y="21654"/>
                  </a:cubicBezTo>
                  <a:cubicBezTo>
                    <a:pt x="1929" y="21602"/>
                    <a:pt x="1923" y="21548"/>
                    <a:pt x="1920" y="21495"/>
                  </a:cubicBezTo>
                  <a:cubicBezTo>
                    <a:pt x="1919" y="21468"/>
                    <a:pt x="1918" y="21441"/>
                    <a:pt x="1918" y="21416"/>
                  </a:cubicBezTo>
                  <a:cubicBezTo>
                    <a:pt x="1917" y="21299"/>
                    <a:pt x="1917" y="21299"/>
                    <a:pt x="1917" y="21299"/>
                  </a:cubicBezTo>
                  <a:cubicBezTo>
                    <a:pt x="1919" y="20789"/>
                    <a:pt x="1919" y="20789"/>
                    <a:pt x="1919" y="20789"/>
                  </a:cubicBezTo>
                  <a:cubicBezTo>
                    <a:pt x="1920" y="19772"/>
                    <a:pt x="1920" y="19772"/>
                    <a:pt x="1920" y="19772"/>
                  </a:cubicBezTo>
                  <a:cubicBezTo>
                    <a:pt x="1922" y="19092"/>
                    <a:pt x="1923" y="18412"/>
                    <a:pt x="1924" y="17736"/>
                  </a:cubicBezTo>
                  <a:cubicBezTo>
                    <a:pt x="1930" y="12447"/>
                    <a:pt x="1943" y="2086"/>
                    <a:pt x="1943" y="1975"/>
                  </a:cubicBezTo>
                  <a:cubicBezTo>
                    <a:pt x="1943" y="1864"/>
                    <a:pt x="2000" y="1839"/>
                    <a:pt x="2090" y="1839"/>
                  </a:cubicBezTo>
                  <a:cubicBezTo>
                    <a:pt x="2180" y="1839"/>
                    <a:pt x="3474" y="1839"/>
                    <a:pt x="4171" y="1838"/>
                  </a:cubicBezTo>
                  <a:cubicBezTo>
                    <a:pt x="4586" y="1838"/>
                    <a:pt x="5001" y="1838"/>
                    <a:pt x="5415" y="1838"/>
                  </a:cubicBezTo>
                  <a:cubicBezTo>
                    <a:pt x="6036" y="1837"/>
                    <a:pt x="6036" y="1837"/>
                    <a:pt x="6036" y="1837"/>
                  </a:cubicBezTo>
                  <a:cubicBezTo>
                    <a:pt x="6152" y="1836"/>
                    <a:pt x="6213" y="1838"/>
                    <a:pt x="6307" y="1843"/>
                  </a:cubicBezTo>
                  <a:cubicBezTo>
                    <a:pt x="6395" y="1847"/>
                    <a:pt x="6483" y="1854"/>
                    <a:pt x="6571" y="1863"/>
                  </a:cubicBezTo>
                  <a:cubicBezTo>
                    <a:pt x="7271" y="1932"/>
                    <a:pt x="7952" y="2139"/>
                    <a:pt x="8570" y="2470"/>
                  </a:cubicBezTo>
                  <a:cubicBezTo>
                    <a:pt x="8879" y="2635"/>
                    <a:pt x="9171" y="2831"/>
                    <a:pt x="9442" y="3052"/>
                  </a:cubicBezTo>
                  <a:cubicBezTo>
                    <a:pt x="9510" y="3106"/>
                    <a:pt x="9579" y="3165"/>
                    <a:pt x="9640" y="3220"/>
                  </a:cubicBezTo>
                  <a:cubicBezTo>
                    <a:pt x="9854" y="3419"/>
                    <a:pt x="9854" y="3419"/>
                    <a:pt x="9854" y="3419"/>
                  </a:cubicBezTo>
                  <a:cubicBezTo>
                    <a:pt x="10305" y="3841"/>
                    <a:pt x="10305" y="3841"/>
                    <a:pt x="10305" y="3841"/>
                  </a:cubicBezTo>
                  <a:cubicBezTo>
                    <a:pt x="11970" y="5399"/>
                    <a:pt x="13645" y="6958"/>
                    <a:pt x="15279" y="8472"/>
                  </a:cubicBezTo>
                  <a:cubicBezTo>
                    <a:pt x="15297" y="8489"/>
                    <a:pt x="15297" y="8489"/>
                    <a:pt x="15297" y="8489"/>
                  </a:cubicBezTo>
                  <a:cubicBezTo>
                    <a:pt x="15338" y="8528"/>
                    <a:pt x="15338" y="8528"/>
                    <a:pt x="15338" y="8528"/>
                  </a:cubicBezTo>
                  <a:cubicBezTo>
                    <a:pt x="15418" y="8605"/>
                    <a:pt x="15418" y="8605"/>
                    <a:pt x="15418" y="8605"/>
                  </a:cubicBezTo>
                  <a:cubicBezTo>
                    <a:pt x="15580" y="8758"/>
                    <a:pt x="15580" y="8758"/>
                    <a:pt x="15580" y="8758"/>
                  </a:cubicBezTo>
                  <a:cubicBezTo>
                    <a:pt x="15688" y="8859"/>
                    <a:pt x="15797" y="8959"/>
                    <a:pt x="15909" y="9055"/>
                  </a:cubicBezTo>
                  <a:cubicBezTo>
                    <a:pt x="16131" y="9250"/>
                    <a:pt x="16359" y="9436"/>
                    <a:pt x="16590" y="9615"/>
                  </a:cubicBezTo>
                  <a:cubicBezTo>
                    <a:pt x="17053" y="9974"/>
                    <a:pt x="17535" y="10299"/>
                    <a:pt x="18027" y="10592"/>
                  </a:cubicBezTo>
                  <a:cubicBezTo>
                    <a:pt x="19012" y="11180"/>
                    <a:pt x="20042" y="11634"/>
                    <a:pt x="21073" y="11966"/>
                  </a:cubicBezTo>
                  <a:cubicBezTo>
                    <a:pt x="22104" y="12297"/>
                    <a:pt x="23135" y="12505"/>
                    <a:pt x="24130" y="12613"/>
                  </a:cubicBezTo>
                  <a:cubicBezTo>
                    <a:pt x="25126" y="12720"/>
                    <a:pt x="26085" y="12731"/>
                    <a:pt x="26986" y="12667"/>
                  </a:cubicBezTo>
                  <a:cubicBezTo>
                    <a:pt x="28794" y="12547"/>
                    <a:pt x="30366" y="12128"/>
                    <a:pt x="31601" y="11637"/>
                  </a:cubicBezTo>
                  <a:cubicBezTo>
                    <a:pt x="32764" y="11180"/>
                    <a:pt x="33788" y="10609"/>
                    <a:pt x="34694" y="9965"/>
                  </a:cubicBezTo>
                  <a:cubicBezTo>
                    <a:pt x="35147" y="9644"/>
                    <a:pt x="35570" y="9301"/>
                    <a:pt x="35966" y="8944"/>
                  </a:cubicBezTo>
                  <a:cubicBezTo>
                    <a:pt x="36164" y="8767"/>
                    <a:pt x="36361" y="8576"/>
                    <a:pt x="36536" y="8402"/>
                  </a:cubicBezTo>
                  <a:cubicBezTo>
                    <a:pt x="36717" y="8227"/>
                    <a:pt x="36895" y="8051"/>
                    <a:pt x="37074" y="7875"/>
                  </a:cubicBezTo>
                  <a:cubicBezTo>
                    <a:pt x="39465" y="5534"/>
                    <a:pt x="41336" y="3664"/>
                    <a:pt x="42185" y="2767"/>
                  </a:cubicBezTo>
                  <a:cubicBezTo>
                    <a:pt x="42609" y="2330"/>
                    <a:pt x="42961" y="1961"/>
                    <a:pt x="43246" y="1655"/>
                  </a:cubicBezTo>
                  <a:cubicBezTo>
                    <a:pt x="43282" y="1615"/>
                    <a:pt x="43319" y="1576"/>
                    <a:pt x="43355" y="1537"/>
                  </a:cubicBezTo>
                  <a:cubicBezTo>
                    <a:pt x="43384" y="1506"/>
                    <a:pt x="43413" y="1474"/>
                    <a:pt x="43442" y="1444"/>
                  </a:cubicBezTo>
                  <a:cubicBezTo>
                    <a:pt x="43455" y="1429"/>
                    <a:pt x="43468" y="1415"/>
                    <a:pt x="43482" y="1400"/>
                  </a:cubicBezTo>
                  <a:cubicBezTo>
                    <a:pt x="43492" y="1388"/>
                    <a:pt x="43502" y="1377"/>
                    <a:pt x="43511" y="1366"/>
                  </a:cubicBezTo>
                  <a:cubicBezTo>
                    <a:pt x="43547" y="1323"/>
                    <a:pt x="43909" y="1105"/>
                    <a:pt x="43958" y="1079"/>
                  </a:cubicBezTo>
                  <a:cubicBezTo>
                    <a:pt x="43981" y="1066"/>
                    <a:pt x="44373" y="898"/>
                    <a:pt x="44433" y="867"/>
                  </a:cubicBezTo>
                  <a:cubicBezTo>
                    <a:pt x="44584" y="783"/>
                    <a:pt x="44236" y="653"/>
                    <a:pt x="43958" y="663"/>
                  </a:cubicBezTo>
                  <a:cubicBezTo>
                    <a:pt x="43680" y="672"/>
                    <a:pt x="43386" y="771"/>
                    <a:pt x="43286" y="836"/>
                  </a:cubicBezTo>
                  <a:cubicBezTo>
                    <a:pt x="43096" y="959"/>
                    <a:pt x="42853" y="1201"/>
                    <a:pt x="42699" y="1324"/>
                  </a:cubicBezTo>
                  <a:cubicBezTo>
                    <a:pt x="42464" y="1515"/>
                    <a:pt x="42189" y="1742"/>
                    <a:pt x="41873" y="2007"/>
                  </a:cubicBezTo>
                  <a:cubicBezTo>
                    <a:pt x="41042" y="2692"/>
                    <a:pt x="38675" y="4850"/>
                    <a:pt x="35671" y="7622"/>
                  </a:cubicBezTo>
                  <a:cubicBezTo>
                    <a:pt x="35575" y="7710"/>
                    <a:pt x="35487" y="7792"/>
                    <a:pt x="35393" y="7874"/>
                  </a:cubicBezTo>
                  <a:cubicBezTo>
                    <a:pt x="35301" y="7956"/>
                    <a:pt x="35207" y="8038"/>
                    <a:pt x="35110" y="8118"/>
                  </a:cubicBezTo>
                  <a:cubicBezTo>
                    <a:pt x="34918" y="8281"/>
                    <a:pt x="34719" y="8437"/>
                    <a:pt x="34512" y="8591"/>
                  </a:cubicBezTo>
                  <a:cubicBezTo>
                    <a:pt x="34100" y="8897"/>
                    <a:pt x="33661" y="9186"/>
                    <a:pt x="33199" y="9450"/>
                  </a:cubicBezTo>
                  <a:cubicBezTo>
                    <a:pt x="32274" y="9980"/>
                    <a:pt x="31253" y="10412"/>
                    <a:pt x="30179" y="10717"/>
                  </a:cubicBezTo>
                  <a:cubicBezTo>
                    <a:pt x="28032" y="11330"/>
                    <a:pt x="25667" y="11418"/>
                    <a:pt x="23498" y="11014"/>
                  </a:cubicBezTo>
                  <a:cubicBezTo>
                    <a:pt x="21528" y="10648"/>
                    <a:pt x="19660" y="9859"/>
                    <a:pt x="18064" y="8699"/>
                  </a:cubicBezTo>
                  <a:cubicBezTo>
                    <a:pt x="17665" y="8409"/>
                    <a:pt x="17283" y="8097"/>
                    <a:pt x="16920" y="7763"/>
                  </a:cubicBezTo>
                  <a:cubicBezTo>
                    <a:pt x="16830" y="7680"/>
                    <a:pt x="16740" y="7595"/>
                    <a:pt x="16652" y="7510"/>
                  </a:cubicBezTo>
                  <a:cubicBezTo>
                    <a:pt x="16521" y="7380"/>
                    <a:pt x="16521" y="7380"/>
                    <a:pt x="16521" y="7380"/>
                  </a:cubicBezTo>
                  <a:cubicBezTo>
                    <a:pt x="16455" y="7314"/>
                    <a:pt x="16455" y="7314"/>
                    <a:pt x="16455" y="7314"/>
                  </a:cubicBezTo>
                  <a:cubicBezTo>
                    <a:pt x="16370" y="7232"/>
                    <a:pt x="16370" y="7232"/>
                    <a:pt x="16370" y="7232"/>
                  </a:cubicBezTo>
                  <a:cubicBezTo>
                    <a:pt x="15807" y="6693"/>
                    <a:pt x="15807" y="6693"/>
                    <a:pt x="15807" y="6693"/>
                  </a:cubicBezTo>
                  <a:cubicBezTo>
                    <a:pt x="15055" y="5974"/>
                    <a:pt x="14303" y="5254"/>
                    <a:pt x="13548" y="4532"/>
                  </a:cubicBezTo>
                  <a:cubicBezTo>
                    <a:pt x="12794" y="3811"/>
                    <a:pt x="12037" y="3086"/>
                    <a:pt x="11277" y="2358"/>
                  </a:cubicBezTo>
                  <a:cubicBezTo>
                    <a:pt x="10992" y="2085"/>
                    <a:pt x="10992" y="2085"/>
                    <a:pt x="10992" y="2085"/>
                  </a:cubicBezTo>
                  <a:cubicBezTo>
                    <a:pt x="10842" y="1945"/>
                    <a:pt x="10842" y="1945"/>
                    <a:pt x="10842" y="1945"/>
                  </a:cubicBezTo>
                  <a:cubicBezTo>
                    <a:pt x="10784" y="1890"/>
                    <a:pt x="10730" y="1842"/>
                    <a:pt x="10674" y="1792"/>
                  </a:cubicBezTo>
                  <a:cubicBezTo>
                    <a:pt x="10451" y="1598"/>
                    <a:pt x="10215" y="1417"/>
                    <a:pt x="9968" y="1251"/>
                  </a:cubicBezTo>
                  <a:cubicBezTo>
                    <a:pt x="9475" y="920"/>
                    <a:pt x="8938" y="648"/>
                    <a:pt x="8374" y="447"/>
                  </a:cubicBezTo>
                  <a:cubicBezTo>
                    <a:pt x="7808" y="246"/>
                    <a:pt x="7215" y="116"/>
                    <a:pt x="6613" y="63"/>
                  </a:cubicBezTo>
                  <a:cubicBezTo>
                    <a:pt x="6539" y="57"/>
                    <a:pt x="6463" y="50"/>
                    <a:pt x="6388" y="46"/>
                  </a:cubicBezTo>
                  <a:cubicBezTo>
                    <a:pt x="6274" y="41"/>
                    <a:pt x="6274" y="41"/>
                    <a:pt x="6274" y="41"/>
                  </a:cubicBezTo>
                  <a:cubicBezTo>
                    <a:pt x="6155" y="37"/>
                    <a:pt x="6155" y="37"/>
                    <a:pt x="6155" y="37"/>
                  </a:cubicBezTo>
                  <a:cubicBezTo>
                    <a:pt x="5751" y="33"/>
                    <a:pt x="5751" y="33"/>
                    <a:pt x="5751" y="33"/>
                  </a:cubicBezTo>
                  <a:cubicBezTo>
                    <a:pt x="5482" y="31"/>
                    <a:pt x="5212" y="29"/>
                    <a:pt x="4942" y="27"/>
                  </a:cubicBezTo>
                  <a:cubicBezTo>
                    <a:pt x="3743" y="18"/>
                    <a:pt x="2484" y="0"/>
                    <a:pt x="1317" y="0"/>
                  </a:cubicBezTo>
                  <a:cubicBezTo>
                    <a:pt x="151" y="0"/>
                    <a:pt x="96" y="874"/>
                    <a:pt x="96" y="1210"/>
                  </a:cubicBezTo>
                  <a:cubicBezTo>
                    <a:pt x="96" y="1545"/>
                    <a:pt x="82" y="3462"/>
                    <a:pt x="75" y="4603"/>
                  </a:cubicBezTo>
                  <a:cubicBezTo>
                    <a:pt x="60" y="7453"/>
                    <a:pt x="44" y="10331"/>
                    <a:pt x="28" y="13349"/>
                  </a:cubicBezTo>
                  <a:cubicBezTo>
                    <a:pt x="23" y="14793"/>
                    <a:pt x="17" y="16270"/>
                    <a:pt x="11" y="17772"/>
                  </a:cubicBezTo>
                  <a:cubicBezTo>
                    <a:pt x="9" y="18522"/>
                    <a:pt x="6" y="19281"/>
                    <a:pt x="4" y="20044"/>
                  </a:cubicBezTo>
                  <a:cubicBezTo>
                    <a:pt x="2" y="20426"/>
                    <a:pt x="1" y="20810"/>
                    <a:pt x="0" y="21196"/>
                  </a:cubicBezTo>
                  <a:cubicBezTo>
                    <a:pt x="0" y="21340"/>
                    <a:pt x="0" y="21340"/>
                    <a:pt x="0" y="21340"/>
                  </a:cubicBezTo>
                  <a:cubicBezTo>
                    <a:pt x="0" y="21416"/>
                    <a:pt x="0" y="21416"/>
                    <a:pt x="0" y="21416"/>
                  </a:cubicBezTo>
                  <a:cubicBezTo>
                    <a:pt x="1" y="21517"/>
                    <a:pt x="1" y="21517"/>
                    <a:pt x="1" y="21517"/>
                  </a:cubicBezTo>
                  <a:cubicBezTo>
                    <a:pt x="6" y="21650"/>
                    <a:pt x="19" y="21782"/>
                    <a:pt x="37" y="21914"/>
                  </a:cubicBezTo>
                  <a:cubicBezTo>
                    <a:pt x="76" y="22177"/>
                    <a:pt x="143" y="22433"/>
                    <a:pt x="235" y="22675"/>
                  </a:cubicBezTo>
                  <a:cubicBezTo>
                    <a:pt x="417" y="23161"/>
                    <a:pt x="689" y="23591"/>
                    <a:pt x="1005" y="23958"/>
                  </a:cubicBezTo>
                  <a:cubicBezTo>
                    <a:pt x="1321" y="24328"/>
                    <a:pt x="1682" y="24642"/>
                    <a:pt x="2071" y="24909"/>
                  </a:cubicBezTo>
                  <a:cubicBezTo>
                    <a:pt x="2460" y="25172"/>
                    <a:pt x="2878" y="25390"/>
                    <a:pt x="3320" y="25559"/>
                  </a:cubicBezTo>
                  <a:cubicBezTo>
                    <a:pt x="3761" y="25725"/>
                    <a:pt x="4229" y="25844"/>
                    <a:pt x="4719" y="25893"/>
                  </a:cubicBezTo>
                  <a:cubicBezTo>
                    <a:pt x="4843" y="25906"/>
                    <a:pt x="4967" y="25915"/>
                    <a:pt x="5092" y="25916"/>
                  </a:cubicBezTo>
                  <a:cubicBezTo>
                    <a:pt x="5413" y="25918"/>
                    <a:pt x="5413" y="25918"/>
                    <a:pt x="5413" y="25918"/>
                  </a:cubicBezTo>
                  <a:cubicBezTo>
                    <a:pt x="5616" y="25918"/>
                    <a:pt x="5822" y="25918"/>
                    <a:pt x="6032" y="25913"/>
                  </a:cubicBezTo>
                  <a:cubicBezTo>
                    <a:pt x="6349" y="25902"/>
                    <a:pt x="6349" y="25902"/>
                    <a:pt x="6349" y="25902"/>
                  </a:cubicBezTo>
                  <a:cubicBezTo>
                    <a:pt x="6511" y="25895"/>
                    <a:pt x="6511" y="25895"/>
                    <a:pt x="6511" y="25895"/>
                  </a:cubicBezTo>
                  <a:cubicBezTo>
                    <a:pt x="6643" y="25888"/>
                    <a:pt x="6643" y="25888"/>
                    <a:pt x="6643" y="25888"/>
                  </a:cubicBezTo>
                  <a:cubicBezTo>
                    <a:pt x="6783" y="25877"/>
                    <a:pt x="6783" y="25877"/>
                    <a:pt x="6783" y="25877"/>
                  </a:cubicBezTo>
                  <a:cubicBezTo>
                    <a:pt x="7156" y="25844"/>
                    <a:pt x="7534" y="25788"/>
                    <a:pt x="7817" y="25615"/>
                  </a:cubicBezTo>
                  <a:cubicBezTo>
                    <a:pt x="7959" y="25532"/>
                    <a:pt x="8094" y="25415"/>
                    <a:pt x="8198" y="25276"/>
                  </a:cubicBezTo>
                  <a:cubicBezTo>
                    <a:pt x="8303" y="25137"/>
                    <a:pt x="8375" y="24986"/>
                    <a:pt x="8425" y="24824"/>
                  </a:cubicBezTo>
                  <a:cubicBezTo>
                    <a:pt x="8449" y="24743"/>
                    <a:pt x="8467" y="24656"/>
                    <a:pt x="8480" y="24568"/>
                  </a:cubicBezTo>
                  <a:cubicBezTo>
                    <a:pt x="8491" y="24478"/>
                    <a:pt x="8487" y="24382"/>
                    <a:pt x="8491" y="24288"/>
                  </a:cubicBezTo>
                  <a:cubicBezTo>
                    <a:pt x="8502" y="23762"/>
                    <a:pt x="8502" y="23762"/>
                    <a:pt x="8502" y="23762"/>
                  </a:cubicBezTo>
                  <a:cubicBezTo>
                    <a:pt x="8502" y="23360"/>
                    <a:pt x="8503" y="22958"/>
                    <a:pt x="8503" y="22556"/>
                  </a:cubicBezTo>
                  <a:cubicBezTo>
                    <a:pt x="8505" y="20944"/>
                    <a:pt x="8506" y="19323"/>
                    <a:pt x="8507" y="17700"/>
                  </a:cubicBezTo>
                  <a:cubicBezTo>
                    <a:pt x="8508" y="17114"/>
                    <a:pt x="8508" y="17114"/>
                    <a:pt x="8508" y="17114"/>
                  </a:cubicBezTo>
                  <a:cubicBezTo>
                    <a:pt x="8511" y="16971"/>
                    <a:pt x="8527" y="16829"/>
                    <a:pt x="8557" y="16688"/>
                  </a:cubicBezTo>
                  <a:cubicBezTo>
                    <a:pt x="8615" y="16409"/>
                    <a:pt x="8725" y="16138"/>
                    <a:pt x="8881" y="15895"/>
                  </a:cubicBezTo>
                  <a:cubicBezTo>
                    <a:pt x="9190" y="15408"/>
                    <a:pt x="9681" y="15035"/>
                    <a:pt x="10225" y="14883"/>
                  </a:cubicBezTo>
                  <a:cubicBezTo>
                    <a:pt x="10360" y="14844"/>
                    <a:pt x="10499" y="14819"/>
                    <a:pt x="10639" y="14806"/>
                  </a:cubicBezTo>
                  <a:cubicBezTo>
                    <a:pt x="10710" y="14799"/>
                    <a:pt x="10777" y="14797"/>
                    <a:pt x="10853" y="14797"/>
                  </a:cubicBezTo>
                  <a:cubicBezTo>
                    <a:pt x="10937" y="14797"/>
                    <a:pt x="11022" y="14799"/>
                    <a:pt x="11106" y="14804"/>
                  </a:cubicBezTo>
                  <a:cubicBezTo>
                    <a:pt x="11443" y="14822"/>
                    <a:pt x="11778" y="14874"/>
                    <a:pt x="12109" y="14963"/>
                  </a:cubicBezTo>
                  <a:cubicBezTo>
                    <a:pt x="12771" y="15136"/>
                    <a:pt x="13415" y="15442"/>
                    <a:pt x="14033" y="15836"/>
                  </a:cubicBezTo>
                  <a:cubicBezTo>
                    <a:pt x="14652" y="16228"/>
                    <a:pt x="15245" y="16701"/>
                    <a:pt x="15826" y="17211"/>
                  </a:cubicBezTo>
                  <a:cubicBezTo>
                    <a:pt x="16408" y="17720"/>
                    <a:pt x="16977" y="18268"/>
                    <a:pt x="17572" y="18816"/>
                  </a:cubicBezTo>
                  <a:cubicBezTo>
                    <a:pt x="17865" y="19090"/>
                    <a:pt x="18186" y="19371"/>
                    <a:pt x="18471" y="19624"/>
                  </a:cubicBezTo>
                  <a:cubicBezTo>
                    <a:pt x="18763" y="19887"/>
                    <a:pt x="19055" y="20148"/>
                    <a:pt x="19346" y="20412"/>
                  </a:cubicBezTo>
                  <a:cubicBezTo>
                    <a:pt x="19931" y="20940"/>
                    <a:pt x="20520" y="21474"/>
                    <a:pt x="21145" y="21991"/>
                  </a:cubicBezTo>
                  <a:cubicBezTo>
                    <a:pt x="21771" y="22505"/>
                    <a:pt x="22434" y="23006"/>
                    <a:pt x="23192" y="23423"/>
                  </a:cubicBezTo>
                  <a:cubicBezTo>
                    <a:pt x="23571" y="23630"/>
                    <a:pt x="23975" y="23814"/>
                    <a:pt x="24404" y="23955"/>
                  </a:cubicBezTo>
                  <a:cubicBezTo>
                    <a:pt x="24833" y="24094"/>
                    <a:pt x="25289" y="24189"/>
                    <a:pt x="25751" y="24218"/>
                  </a:cubicBezTo>
                  <a:cubicBezTo>
                    <a:pt x="26212" y="24249"/>
                    <a:pt x="26677" y="24214"/>
                    <a:pt x="27122" y="24126"/>
                  </a:cubicBezTo>
                  <a:cubicBezTo>
                    <a:pt x="27565" y="24036"/>
                    <a:pt x="27988" y="23893"/>
                    <a:pt x="28379" y="23720"/>
                  </a:cubicBezTo>
                  <a:cubicBezTo>
                    <a:pt x="29164" y="23372"/>
                    <a:pt x="29831" y="22916"/>
                    <a:pt x="30440" y="22446"/>
                  </a:cubicBezTo>
                  <a:cubicBezTo>
                    <a:pt x="31050" y="21975"/>
                    <a:pt x="31603" y="21484"/>
                    <a:pt x="32136" y="21001"/>
                  </a:cubicBezTo>
                  <a:cubicBezTo>
                    <a:pt x="32660" y="20522"/>
                    <a:pt x="33177" y="20047"/>
                    <a:pt x="33687" y="19580"/>
                  </a:cubicBezTo>
                  <a:cubicBezTo>
                    <a:pt x="33815" y="19465"/>
                    <a:pt x="33943" y="19352"/>
                    <a:pt x="34070" y="19236"/>
                  </a:cubicBezTo>
                  <a:cubicBezTo>
                    <a:pt x="34200" y="19117"/>
                    <a:pt x="34329" y="18998"/>
                    <a:pt x="34459" y="18879"/>
                  </a:cubicBezTo>
                  <a:cubicBezTo>
                    <a:pt x="34710" y="18643"/>
                    <a:pt x="34957" y="18407"/>
                    <a:pt x="35204" y="18174"/>
                  </a:cubicBezTo>
                  <a:cubicBezTo>
                    <a:pt x="35690" y="17712"/>
                    <a:pt x="36160" y="17269"/>
                    <a:pt x="36635" y="16860"/>
                  </a:cubicBezTo>
                  <a:cubicBezTo>
                    <a:pt x="37578" y="16043"/>
                    <a:pt x="38544" y="15368"/>
                    <a:pt x="39540" y="14993"/>
                  </a:cubicBezTo>
                  <a:cubicBezTo>
                    <a:pt x="40038" y="14804"/>
                    <a:pt x="40538" y="14689"/>
                    <a:pt x="41035" y="14649"/>
                  </a:cubicBezTo>
                  <a:cubicBezTo>
                    <a:pt x="41158" y="14640"/>
                    <a:pt x="41287" y="14633"/>
                    <a:pt x="41402" y="14633"/>
                  </a:cubicBezTo>
                  <a:cubicBezTo>
                    <a:pt x="41509" y="14633"/>
                    <a:pt x="41616" y="14640"/>
                    <a:pt x="41719" y="14653"/>
                  </a:cubicBezTo>
                  <a:cubicBezTo>
                    <a:pt x="41929" y="14680"/>
                    <a:pt x="42132" y="14736"/>
                    <a:pt x="42326" y="14813"/>
                  </a:cubicBezTo>
                  <a:cubicBezTo>
                    <a:pt x="42712" y="14970"/>
                    <a:pt x="43051" y="15224"/>
                    <a:pt x="43312" y="15531"/>
                  </a:cubicBezTo>
                  <a:cubicBezTo>
                    <a:pt x="43575" y="15839"/>
                    <a:pt x="43757" y="16198"/>
                    <a:pt x="43853" y="16566"/>
                  </a:cubicBezTo>
                  <a:cubicBezTo>
                    <a:pt x="43900" y="16750"/>
                    <a:pt x="43927" y="16939"/>
                    <a:pt x="43934" y="17121"/>
                  </a:cubicBezTo>
                  <a:cubicBezTo>
                    <a:pt x="43938" y="17357"/>
                    <a:pt x="43941" y="17592"/>
                    <a:pt x="43945" y="17822"/>
                  </a:cubicBezTo>
                  <a:cubicBezTo>
                    <a:pt x="43951" y="18291"/>
                    <a:pt x="43959" y="18749"/>
                    <a:pt x="43965" y="19195"/>
                  </a:cubicBezTo>
                  <a:cubicBezTo>
                    <a:pt x="43972" y="19640"/>
                    <a:pt x="43979" y="20073"/>
                    <a:pt x="43987" y="20491"/>
                  </a:cubicBezTo>
                  <a:cubicBezTo>
                    <a:pt x="43990" y="20700"/>
                    <a:pt x="43994" y="20908"/>
                    <a:pt x="43997" y="21110"/>
                  </a:cubicBezTo>
                  <a:cubicBezTo>
                    <a:pt x="43999" y="21212"/>
                    <a:pt x="44001" y="21313"/>
                    <a:pt x="44003" y="21414"/>
                  </a:cubicBezTo>
                  <a:cubicBezTo>
                    <a:pt x="44005" y="21542"/>
                    <a:pt x="44016" y="21667"/>
                    <a:pt x="44033" y="21791"/>
                  </a:cubicBezTo>
                  <a:cubicBezTo>
                    <a:pt x="44102" y="22278"/>
                    <a:pt x="44279" y="22709"/>
                    <a:pt x="44495" y="23069"/>
                  </a:cubicBezTo>
                  <a:cubicBezTo>
                    <a:pt x="44711" y="23432"/>
                    <a:pt x="44969" y="23733"/>
                    <a:pt x="45236" y="23985"/>
                  </a:cubicBezTo>
                  <a:cubicBezTo>
                    <a:pt x="45772" y="24492"/>
                    <a:pt x="46343" y="24824"/>
                    <a:pt x="46894" y="25058"/>
                  </a:cubicBezTo>
                  <a:cubicBezTo>
                    <a:pt x="47447" y="25289"/>
                    <a:pt x="47986" y="25417"/>
                    <a:pt x="48500" y="25462"/>
                  </a:cubicBezTo>
                  <a:cubicBezTo>
                    <a:pt x="48756" y="25486"/>
                    <a:pt x="49022" y="25478"/>
                    <a:pt x="49226" y="25468"/>
                  </a:cubicBezTo>
                  <a:cubicBezTo>
                    <a:pt x="49441" y="25458"/>
                    <a:pt x="49650" y="25448"/>
                    <a:pt x="49854" y="25433"/>
                  </a:cubicBezTo>
                  <a:cubicBezTo>
                    <a:pt x="49956" y="25424"/>
                    <a:pt x="50056" y="25417"/>
                    <a:pt x="50155" y="25408"/>
                  </a:cubicBezTo>
                  <a:cubicBezTo>
                    <a:pt x="50216" y="25403"/>
                    <a:pt x="50276" y="25397"/>
                    <a:pt x="50335" y="25392"/>
                  </a:cubicBezTo>
                  <a:cubicBezTo>
                    <a:pt x="50402" y="25385"/>
                    <a:pt x="50470" y="25377"/>
                    <a:pt x="50537" y="25370"/>
                  </a:cubicBezTo>
                  <a:cubicBezTo>
                    <a:pt x="50803" y="25338"/>
                    <a:pt x="51055" y="25289"/>
                    <a:pt x="51257" y="25177"/>
                  </a:cubicBezTo>
                  <a:cubicBezTo>
                    <a:pt x="51359" y="25121"/>
                    <a:pt x="51451" y="25037"/>
                    <a:pt x="51516" y="24937"/>
                  </a:cubicBezTo>
                  <a:cubicBezTo>
                    <a:pt x="51581" y="24838"/>
                    <a:pt x="51618" y="24728"/>
                    <a:pt x="51641" y="24616"/>
                  </a:cubicBezTo>
                  <a:cubicBezTo>
                    <a:pt x="51688" y="24393"/>
                    <a:pt x="51664" y="24142"/>
                    <a:pt x="51664" y="23906"/>
                  </a:cubicBezTo>
                  <a:close/>
                </a:path>
              </a:pathLst>
            </a:custGeom>
            <a:solidFill>
              <a:srgbClr val="FFC8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9"/>
            <p:cNvSpPr>
              <a:spLocks/>
            </p:cNvSpPr>
            <p:nvPr userDrawn="1"/>
          </p:nvSpPr>
          <p:spPr bwMode="auto">
            <a:xfrm>
              <a:off x="-84412137" y="19151600"/>
              <a:ext cx="192400238" cy="96275525"/>
            </a:xfrm>
            <a:custGeom>
              <a:avLst/>
              <a:gdLst>
                <a:gd name="T0" fmla="*/ 51227 w 51304"/>
                <a:gd name="T1" fmla="*/ 21984 h 25671"/>
                <a:gd name="T2" fmla="*/ 50896 w 51304"/>
                <a:gd name="T3" fmla="*/ 22934 h 25671"/>
                <a:gd name="T4" fmla="*/ 50845 w 51304"/>
                <a:gd name="T5" fmla="*/ 23767 h 25671"/>
                <a:gd name="T6" fmla="*/ 50418 w 51304"/>
                <a:gd name="T7" fmla="*/ 24434 h 25671"/>
                <a:gd name="T8" fmla="*/ 48957 w 51304"/>
                <a:gd name="T9" fmla="*/ 24450 h 25671"/>
                <a:gd name="T10" fmla="*/ 47352 w 51304"/>
                <a:gd name="T11" fmla="*/ 24093 h 25671"/>
                <a:gd name="T12" fmla="*/ 45066 w 51304"/>
                <a:gd name="T13" fmla="*/ 20519 h 25671"/>
                <a:gd name="T14" fmla="*/ 45007 w 51304"/>
                <a:gd name="T15" fmla="*/ 16059 h 25671"/>
                <a:gd name="T16" fmla="*/ 41247 w 51304"/>
                <a:gd name="T17" fmla="*/ 13062 h 25671"/>
                <a:gd name="T18" fmla="*/ 32977 w 51304"/>
                <a:gd name="T19" fmla="*/ 17784 h 25671"/>
                <a:gd name="T20" fmla="*/ 28720 w 51304"/>
                <a:gd name="T21" fmla="*/ 21371 h 25671"/>
                <a:gd name="T22" fmla="*/ 23145 w 51304"/>
                <a:gd name="T23" fmla="*/ 21262 h 25671"/>
                <a:gd name="T24" fmla="*/ 18779 w 51304"/>
                <a:gd name="T25" fmla="*/ 17460 h 25671"/>
                <a:gd name="T26" fmla="*/ 12183 w 51304"/>
                <a:gd name="T27" fmla="*/ 12999 h 25671"/>
                <a:gd name="T28" fmla="*/ 8276 w 51304"/>
                <a:gd name="T29" fmla="*/ 13641 h 25671"/>
                <a:gd name="T30" fmla="*/ 6547 w 51304"/>
                <a:gd name="T31" fmla="*/ 17003 h 25671"/>
                <a:gd name="T32" fmla="*/ 6558 w 51304"/>
                <a:gd name="T33" fmla="*/ 23790 h 25671"/>
                <a:gd name="T34" fmla="*/ 6182 w 51304"/>
                <a:gd name="T35" fmla="*/ 23963 h 25671"/>
                <a:gd name="T36" fmla="*/ 4939 w 51304"/>
                <a:gd name="T37" fmla="*/ 23978 h 25671"/>
                <a:gd name="T38" fmla="*/ 1686 w 51304"/>
                <a:gd name="T39" fmla="*/ 21486 h 25671"/>
                <a:gd name="T40" fmla="*/ 1670 w 51304"/>
                <a:gd name="T41" fmla="*/ 18403 h 25671"/>
                <a:gd name="T42" fmla="*/ 5462 w 51304"/>
                <a:gd name="T43" fmla="*/ 1545 h 25671"/>
                <a:gd name="T44" fmla="*/ 6853 w 51304"/>
                <a:gd name="T45" fmla="*/ 1621 h 25671"/>
                <a:gd name="T46" fmla="*/ 10321 w 51304"/>
                <a:gd name="T47" fmla="*/ 3594 h 25671"/>
                <a:gd name="T48" fmla="*/ 15079 w 51304"/>
                <a:gd name="T49" fmla="*/ 8001 h 25671"/>
                <a:gd name="T50" fmla="*/ 22415 w 51304"/>
                <a:gd name="T51" fmla="*/ 12022 h 25671"/>
                <a:gd name="T52" fmla="*/ 35193 w 51304"/>
                <a:gd name="T53" fmla="*/ 9144 h 25671"/>
                <a:gd name="T54" fmla="*/ 38644 w 51304"/>
                <a:gd name="T55" fmla="*/ 5676 h 25671"/>
                <a:gd name="T56" fmla="*/ 38608 w 51304"/>
                <a:gd name="T57" fmla="*/ 5316 h 25671"/>
                <a:gd name="T58" fmla="*/ 35007 w 51304"/>
                <a:gd name="T59" fmla="*/ 8337 h 25671"/>
                <a:gd name="T60" fmla="*/ 19876 w 51304"/>
                <a:gd name="T61" fmla="*/ 9816 h 25671"/>
                <a:gd name="T62" fmla="*/ 10700 w 51304"/>
                <a:gd name="T63" fmla="*/ 1961 h 25671"/>
                <a:gd name="T64" fmla="*/ 1246 w 51304"/>
                <a:gd name="T65" fmla="*/ 0 h 25671"/>
                <a:gd name="T66" fmla="*/ 1 w 51304"/>
                <a:gd name="T67" fmla="*/ 20794 h 25671"/>
                <a:gd name="T68" fmla="*/ 2175 w 51304"/>
                <a:gd name="T69" fmla="*/ 24786 h 25671"/>
                <a:gd name="T70" fmla="*/ 5478 w 51304"/>
                <a:gd name="T71" fmla="*/ 25671 h 25671"/>
                <a:gd name="T72" fmla="*/ 6619 w 51304"/>
                <a:gd name="T73" fmla="*/ 25631 h 25671"/>
                <a:gd name="T74" fmla="*/ 8202 w 51304"/>
                <a:gd name="T75" fmla="*/ 24575 h 25671"/>
                <a:gd name="T76" fmla="*/ 8252 w 51304"/>
                <a:gd name="T77" fmla="*/ 23446 h 25671"/>
                <a:gd name="T78" fmla="*/ 8253 w 51304"/>
                <a:gd name="T79" fmla="*/ 17036 h 25671"/>
                <a:gd name="T80" fmla="*/ 9588 w 51304"/>
                <a:gd name="T81" fmla="*/ 14825 h 25671"/>
                <a:gd name="T82" fmla="*/ 11057 w 51304"/>
                <a:gd name="T83" fmla="*/ 14549 h 25671"/>
                <a:gd name="T84" fmla="*/ 17864 w 51304"/>
                <a:gd name="T85" fmla="*/ 18877 h 25671"/>
                <a:gd name="T86" fmla="*/ 24961 w 51304"/>
                <a:gd name="T87" fmla="*/ 23846 h 25671"/>
                <a:gd name="T88" fmla="*/ 31626 w 51304"/>
                <a:gd name="T89" fmla="*/ 20994 h 25671"/>
                <a:gd name="T90" fmla="*/ 36096 w 51304"/>
                <a:gd name="T91" fmla="*/ 16843 h 25671"/>
                <a:gd name="T92" fmla="*/ 41234 w 51304"/>
                <a:gd name="T93" fmla="*/ 14288 h 25671"/>
                <a:gd name="T94" fmla="*/ 43955 w 51304"/>
                <a:gd name="T95" fmla="*/ 16317 h 25671"/>
                <a:gd name="T96" fmla="*/ 44179 w 51304"/>
                <a:gd name="T97" fmla="*/ 21228 h 25671"/>
                <a:gd name="T98" fmla="*/ 44984 w 51304"/>
                <a:gd name="T99" fmla="*/ 23266 h 25671"/>
                <a:gd name="T100" fmla="*/ 49556 w 51304"/>
                <a:gd name="T101" fmla="*/ 25025 h 25671"/>
                <a:gd name="T102" fmla="*/ 50989 w 51304"/>
                <a:gd name="T103" fmla="*/ 24822 h 25671"/>
                <a:gd name="T104" fmla="*/ 51278 w 51304"/>
                <a:gd name="T105" fmla="*/ 23556 h 25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304" h="25671">
                  <a:moveTo>
                    <a:pt x="51278" y="23556"/>
                  </a:moveTo>
                  <a:cubicBezTo>
                    <a:pt x="51276" y="23471"/>
                    <a:pt x="51273" y="23386"/>
                    <a:pt x="51271" y="23303"/>
                  </a:cubicBezTo>
                  <a:cubicBezTo>
                    <a:pt x="51266" y="23139"/>
                    <a:pt x="51261" y="22979"/>
                    <a:pt x="51256" y="22826"/>
                  </a:cubicBezTo>
                  <a:cubicBezTo>
                    <a:pt x="51246" y="22523"/>
                    <a:pt x="51236" y="22240"/>
                    <a:pt x="51227" y="21984"/>
                  </a:cubicBezTo>
                  <a:cubicBezTo>
                    <a:pt x="51186" y="20902"/>
                    <a:pt x="51143" y="20417"/>
                    <a:pt x="51103" y="20693"/>
                  </a:cubicBezTo>
                  <a:cubicBezTo>
                    <a:pt x="51083" y="20839"/>
                    <a:pt x="51061" y="20754"/>
                    <a:pt x="51042" y="20886"/>
                  </a:cubicBezTo>
                  <a:cubicBezTo>
                    <a:pt x="51006" y="21032"/>
                    <a:pt x="50975" y="21493"/>
                    <a:pt x="50943" y="22050"/>
                  </a:cubicBezTo>
                  <a:cubicBezTo>
                    <a:pt x="50928" y="22335"/>
                    <a:pt x="50912" y="22634"/>
                    <a:pt x="50896" y="22934"/>
                  </a:cubicBezTo>
                  <a:cubicBezTo>
                    <a:pt x="50887" y="23083"/>
                    <a:pt x="50879" y="23231"/>
                    <a:pt x="50870" y="23379"/>
                  </a:cubicBezTo>
                  <a:cubicBezTo>
                    <a:pt x="50867" y="23449"/>
                    <a:pt x="50862" y="23522"/>
                    <a:pt x="50858" y="23592"/>
                  </a:cubicBezTo>
                  <a:cubicBezTo>
                    <a:pt x="50856" y="23624"/>
                    <a:pt x="50854" y="23659"/>
                    <a:pt x="50851" y="23691"/>
                  </a:cubicBezTo>
                  <a:cubicBezTo>
                    <a:pt x="50850" y="23716"/>
                    <a:pt x="50847" y="23742"/>
                    <a:pt x="50845" y="23767"/>
                  </a:cubicBezTo>
                  <a:cubicBezTo>
                    <a:pt x="50841" y="23826"/>
                    <a:pt x="50840" y="23882"/>
                    <a:pt x="50836" y="23938"/>
                  </a:cubicBezTo>
                  <a:cubicBezTo>
                    <a:pt x="50830" y="24063"/>
                    <a:pt x="50832" y="24192"/>
                    <a:pt x="50759" y="24297"/>
                  </a:cubicBezTo>
                  <a:cubicBezTo>
                    <a:pt x="50722" y="24347"/>
                    <a:pt x="50670" y="24387"/>
                    <a:pt x="50607" y="24403"/>
                  </a:cubicBezTo>
                  <a:cubicBezTo>
                    <a:pt x="50546" y="24420"/>
                    <a:pt x="50481" y="24427"/>
                    <a:pt x="50418" y="24434"/>
                  </a:cubicBezTo>
                  <a:cubicBezTo>
                    <a:pt x="50353" y="24439"/>
                    <a:pt x="50288" y="24443"/>
                    <a:pt x="50223" y="24445"/>
                  </a:cubicBezTo>
                  <a:cubicBezTo>
                    <a:pt x="50155" y="24448"/>
                    <a:pt x="50086" y="24450"/>
                    <a:pt x="50016" y="24450"/>
                  </a:cubicBezTo>
                  <a:cubicBezTo>
                    <a:pt x="49830" y="24456"/>
                    <a:pt x="49637" y="24457"/>
                    <a:pt x="49433" y="24456"/>
                  </a:cubicBezTo>
                  <a:cubicBezTo>
                    <a:pt x="49287" y="24454"/>
                    <a:pt x="49116" y="24450"/>
                    <a:pt x="48957" y="24450"/>
                  </a:cubicBezTo>
                  <a:cubicBezTo>
                    <a:pt x="48885" y="24448"/>
                    <a:pt x="48822" y="24447"/>
                    <a:pt x="48757" y="24441"/>
                  </a:cubicBezTo>
                  <a:cubicBezTo>
                    <a:pt x="48692" y="24438"/>
                    <a:pt x="48627" y="24432"/>
                    <a:pt x="48561" y="24425"/>
                  </a:cubicBezTo>
                  <a:cubicBezTo>
                    <a:pt x="48429" y="24410"/>
                    <a:pt x="48296" y="24385"/>
                    <a:pt x="48162" y="24356"/>
                  </a:cubicBezTo>
                  <a:cubicBezTo>
                    <a:pt x="47893" y="24297"/>
                    <a:pt x="47621" y="24209"/>
                    <a:pt x="47352" y="24093"/>
                  </a:cubicBezTo>
                  <a:cubicBezTo>
                    <a:pt x="46815" y="23861"/>
                    <a:pt x="46284" y="23520"/>
                    <a:pt x="45848" y="23064"/>
                  </a:cubicBezTo>
                  <a:cubicBezTo>
                    <a:pt x="45541" y="22743"/>
                    <a:pt x="45289" y="22362"/>
                    <a:pt x="45156" y="21951"/>
                  </a:cubicBezTo>
                  <a:cubicBezTo>
                    <a:pt x="45090" y="21746"/>
                    <a:pt x="45055" y="21533"/>
                    <a:pt x="45055" y="21318"/>
                  </a:cubicBezTo>
                  <a:cubicBezTo>
                    <a:pt x="45058" y="21055"/>
                    <a:pt x="45063" y="20790"/>
                    <a:pt x="45066" y="20519"/>
                  </a:cubicBezTo>
                  <a:cubicBezTo>
                    <a:pt x="45083" y="19430"/>
                    <a:pt x="45101" y="18293"/>
                    <a:pt x="45119" y="17110"/>
                  </a:cubicBezTo>
                  <a:cubicBezTo>
                    <a:pt x="45120" y="17041"/>
                    <a:pt x="45122" y="16942"/>
                    <a:pt x="45119" y="16856"/>
                  </a:cubicBezTo>
                  <a:cubicBezTo>
                    <a:pt x="45115" y="16767"/>
                    <a:pt x="45109" y="16679"/>
                    <a:pt x="45100" y="16591"/>
                  </a:cubicBezTo>
                  <a:cubicBezTo>
                    <a:pt x="45081" y="16412"/>
                    <a:pt x="45050" y="16235"/>
                    <a:pt x="45007" y="16059"/>
                  </a:cubicBezTo>
                  <a:cubicBezTo>
                    <a:pt x="44918" y="15707"/>
                    <a:pt x="44781" y="15363"/>
                    <a:pt x="44596" y="15042"/>
                  </a:cubicBezTo>
                  <a:cubicBezTo>
                    <a:pt x="44226" y="14398"/>
                    <a:pt x="43662" y="13843"/>
                    <a:pt x="42966" y="13487"/>
                  </a:cubicBezTo>
                  <a:cubicBezTo>
                    <a:pt x="42619" y="13309"/>
                    <a:pt x="42239" y="13181"/>
                    <a:pt x="41846" y="13114"/>
                  </a:cubicBezTo>
                  <a:cubicBezTo>
                    <a:pt x="41648" y="13082"/>
                    <a:pt x="41447" y="13064"/>
                    <a:pt x="41247" y="13062"/>
                  </a:cubicBezTo>
                  <a:cubicBezTo>
                    <a:pt x="41060" y="13060"/>
                    <a:pt x="40872" y="13066"/>
                    <a:pt x="40685" y="13080"/>
                  </a:cubicBezTo>
                  <a:cubicBezTo>
                    <a:pt x="39934" y="13134"/>
                    <a:pt x="39188" y="13327"/>
                    <a:pt x="38493" y="13619"/>
                  </a:cubicBezTo>
                  <a:cubicBezTo>
                    <a:pt x="37442" y="14059"/>
                    <a:pt x="36487" y="14717"/>
                    <a:pt x="35592" y="15451"/>
                  </a:cubicBezTo>
                  <a:cubicBezTo>
                    <a:pt x="34695" y="16183"/>
                    <a:pt x="33852" y="17005"/>
                    <a:pt x="32977" y="17784"/>
                  </a:cubicBezTo>
                  <a:cubicBezTo>
                    <a:pt x="32751" y="17981"/>
                    <a:pt x="32524" y="18181"/>
                    <a:pt x="32295" y="18381"/>
                  </a:cubicBezTo>
                  <a:cubicBezTo>
                    <a:pt x="32066" y="18585"/>
                    <a:pt x="31835" y="18790"/>
                    <a:pt x="31603" y="18998"/>
                  </a:cubicBezTo>
                  <a:cubicBezTo>
                    <a:pt x="31141" y="19411"/>
                    <a:pt x="30676" y="19827"/>
                    <a:pt x="30198" y="20233"/>
                  </a:cubicBezTo>
                  <a:cubicBezTo>
                    <a:pt x="29720" y="20637"/>
                    <a:pt x="29232" y="21028"/>
                    <a:pt x="28720" y="21371"/>
                  </a:cubicBezTo>
                  <a:cubicBezTo>
                    <a:pt x="28209" y="21713"/>
                    <a:pt x="27674" y="22005"/>
                    <a:pt x="27122" y="22182"/>
                  </a:cubicBezTo>
                  <a:cubicBezTo>
                    <a:pt x="26680" y="22321"/>
                    <a:pt x="26231" y="22382"/>
                    <a:pt x="25783" y="22355"/>
                  </a:cubicBezTo>
                  <a:cubicBezTo>
                    <a:pt x="25335" y="22326"/>
                    <a:pt x="24888" y="22207"/>
                    <a:pt x="24446" y="22016"/>
                  </a:cubicBezTo>
                  <a:cubicBezTo>
                    <a:pt x="24005" y="21823"/>
                    <a:pt x="23570" y="21562"/>
                    <a:pt x="23145" y="21262"/>
                  </a:cubicBezTo>
                  <a:cubicBezTo>
                    <a:pt x="22720" y="20961"/>
                    <a:pt x="22303" y="20622"/>
                    <a:pt x="21890" y="20269"/>
                  </a:cubicBezTo>
                  <a:cubicBezTo>
                    <a:pt x="21064" y="19557"/>
                    <a:pt x="20248" y="18779"/>
                    <a:pt x="19395" y="18019"/>
                  </a:cubicBezTo>
                  <a:cubicBezTo>
                    <a:pt x="19083" y="17739"/>
                    <a:pt x="19083" y="17739"/>
                    <a:pt x="19083" y="17739"/>
                  </a:cubicBezTo>
                  <a:cubicBezTo>
                    <a:pt x="18779" y="17460"/>
                    <a:pt x="18779" y="17460"/>
                    <a:pt x="18779" y="17460"/>
                  </a:cubicBezTo>
                  <a:cubicBezTo>
                    <a:pt x="18167" y="16886"/>
                    <a:pt x="18167" y="16886"/>
                    <a:pt x="18167" y="16886"/>
                  </a:cubicBezTo>
                  <a:cubicBezTo>
                    <a:pt x="17756" y="16499"/>
                    <a:pt x="17338" y="16104"/>
                    <a:pt x="16902" y="15718"/>
                  </a:cubicBezTo>
                  <a:cubicBezTo>
                    <a:pt x="16029" y="14950"/>
                    <a:pt x="15078" y="14200"/>
                    <a:pt x="13963" y="13641"/>
                  </a:cubicBezTo>
                  <a:cubicBezTo>
                    <a:pt x="13406" y="13363"/>
                    <a:pt x="12809" y="13138"/>
                    <a:pt x="12183" y="12999"/>
                  </a:cubicBezTo>
                  <a:cubicBezTo>
                    <a:pt x="11870" y="12930"/>
                    <a:pt x="11551" y="12882"/>
                    <a:pt x="11231" y="12858"/>
                  </a:cubicBezTo>
                  <a:cubicBezTo>
                    <a:pt x="11070" y="12846"/>
                    <a:pt x="10909" y="12838"/>
                    <a:pt x="10748" y="12837"/>
                  </a:cubicBezTo>
                  <a:cubicBezTo>
                    <a:pt x="10578" y="12835"/>
                    <a:pt x="10396" y="12846"/>
                    <a:pt x="10221" y="12867"/>
                  </a:cubicBezTo>
                  <a:cubicBezTo>
                    <a:pt x="9515" y="12950"/>
                    <a:pt x="8839" y="13226"/>
                    <a:pt x="8276" y="13641"/>
                  </a:cubicBezTo>
                  <a:cubicBezTo>
                    <a:pt x="7712" y="14055"/>
                    <a:pt x="7256" y="14607"/>
                    <a:pt x="6956" y="15236"/>
                  </a:cubicBezTo>
                  <a:cubicBezTo>
                    <a:pt x="6806" y="15550"/>
                    <a:pt x="6695" y="15884"/>
                    <a:pt x="6628" y="16226"/>
                  </a:cubicBezTo>
                  <a:cubicBezTo>
                    <a:pt x="6594" y="16398"/>
                    <a:pt x="6570" y="16569"/>
                    <a:pt x="6558" y="16744"/>
                  </a:cubicBezTo>
                  <a:cubicBezTo>
                    <a:pt x="6552" y="16829"/>
                    <a:pt x="6548" y="16917"/>
                    <a:pt x="6547" y="17003"/>
                  </a:cubicBezTo>
                  <a:cubicBezTo>
                    <a:pt x="6547" y="17220"/>
                    <a:pt x="6547" y="17220"/>
                    <a:pt x="6547" y="17220"/>
                  </a:cubicBezTo>
                  <a:cubicBezTo>
                    <a:pt x="6548" y="17773"/>
                    <a:pt x="6549" y="18325"/>
                    <a:pt x="6549" y="18875"/>
                  </a:cubicBezTo>
                  <a:cubicBezTo>
                    <a:pt x="6552" y="20269"/>
                    <a:pt x="6554" y="21668"/>
                    <a:pt x="6556" y="23069"/>
                  </a:cubicBezTo>
                  <a:cubicBezTo>
                    <a:pt x="6556" y="23311"/>
                    <a:pt x="6557" y="23549"/>
                    <a:pt x="6558" y="23790"/>
                  </a:cubicBezTo>
                  <a:cubicBezTo>
                    <a:pt x="6558" y="23832"/>
                    <a:pt x="6555" y="23880"/>
                    <a:pt x="6521" y="23911"/>
                  </a:cubicBezTo>
                  <a:cubicBezTo>
                    <a:pt x="6487" y="23940"/>
                    <a:pt x="6440" y="23942"/>
                    <a:pt x="6397" y="23949"/>
                  </a:cubicBezTo>
                  <a:cubicBezTo>
                    <a:pt x="6333" y="23954"/>
                    <a:pt x="6333" y="23954"/>
                    <a:pt x="6333" y="23954"/>
                  </a:cubicBezTo>
                  <a:cubicBezTo>
                    <a:pt x="6182" y="23963"/>
                    <a:pt x="6182" y="23963"/>
                    <a:pt x="6182" y="23963"/>
                  </a:cubicBezTo>
                  <a:cubicBezTo>
                    <a:pt x="6018" y="23971"/>
                    <a:pt x="5850" y="23976"/>
                    <a:pt x="5681" y="23978"/>
                  </a:cubicBezTo>
                  <a:cubicBezTo>
                    <a:pt x="5166" y="23981"/>
                    <a:pt x="5166" y="23981"/>
                    <a:pt x="5166" y="23981"/>
                  </a:cubicBezTo>
                  <a:cubicBezTo>
                    <a:pt x="5042" y="23981"/>
                    <a:pt x="5042" y="23981"/>
                    <a:pt x="5042" y="23981"/>
                  </a:cubicBezTo>
                  <a:cubicBezTo>
                    <a:pt x="5007" y="23981"/>
                    <a:pt x="4973" y="23980"/>
                    <a:pt x="4939" y="23978"/>
                  </a:cubicBezTo>
                  <a:cubicBezTo>
                    <a:pt x="4870" y="23974"/>
                    <a:pt x="4801" y="23971"/>
                    <a:pt x="4731" y="23962"/>
                  </a:cubicBezTo>
                  <a:cubicBezTo>
                    <a:pt x="4173" y="23900"/>
                    <a:pt x="3599" y="23689"/>
                    <a:pt x="3100" y="23379"/>
                  </a:cubicBezTo>
                  <a:cubicBezTo>
                    <a:pt x="2601" y="23071"/>
                    <a:pt x="2172" y="22654"/>
                    <a:pt x="1921" y="22193"/>
                  </a:cubicBezTo>
                  <a:cubicBezTo>
                    <a:pt x="1796" y="21962"/>
                    <a:pt x="1715" y="21724"/>
                    <a:pt x="1686" y="21486"/>
                  </a:cubicBezTo>
                  <a:cubicBezTo>
                    <a:pt x="1678" y="21426"/>
                    <a:pt x="1673" y="21367"/>
                    <a:pt x="1673" y="21307"/>
                  </a:cubicBezTo>
                  <a:cubicBezTo>
                    <a:pt x="1672" y="21057"/>
                    <a:pt x="1672" y="21057"/>
                    <a:pt x="1672" y="21057"/>
                  </a:cubicBezTo>
                  <a:cubicBezTo>
                    <a:pt x="1672" y="20527"/>
                    <a:pt x="1672" y="20527"/>
                    <a:pt x="1672" y="20527"/>
                  </a:cubicBezTo>
                  <a:cubicBezTo>
                    <a:pt x="1671" y="19818"/>
                    <a:pt x="1671" y="19111"/>
                    <a:pt x="1670" y="18403"/>
                  </a:cubicBezTo>
                  <a:cubicBezTo>
                    <a:pt x="1665" y="12851"/>
                    <a:pt x="1656" y="2017"/>
                    <a:pt x="1656" y="1785"/>
                  </a:cubicBezTo>
                  <a:cubicBezTo>
                    <a:pt x="1656" y="1552"/>
                    <a:pt x="1756" y="1551"/>
                    <a:pt x="1888" y="1551"/>
                  </a:cubicBezTo>
                  <a:cubicBezTo>
                    <a:pt x="2019" y="1551"/>
                    <a:pt x="3257" y="1549"/>
                    <a:pt x="3939" y="1548"/>
                  </a:cubicBezTo>
                  <a:cubicBezTo>
                    <a:pt x="4446" y="1547"/>
                    <a:pt x="4954" y="1546"/>
                    <a:pt x="5462" y="1545"/>
                  </a:cubicBezTo>
                  <a:cubicBezTo>
                    <a:pt x="5842" y="1544"/>
                    <a:pt x="5842" y="1544"/>
                    <a:pt x="5842" y="1544"/>
                  </a:cubicBezTo>
                  <a:cubicBezTo>
                    <a:pt x="6032" y="1544"/>
                    <a:pt x="6032" y="1544"/>
                    <a:pt x="6032" y="1544"/>
                  </a:cubicBezTo>
                  <a:cubicBezTo>
                    <a:pt x="6191" y="1549"/>
                    <a:pt x="6191" y="1549"/>
                    <a:pt x="6191" y="1549"/>
                  </a:cubicBezTo>
                  <a:cubicBezTo>
                    <a:pt x="6413" y="1559"/>
                    <a:pt x="6634" y="1584"/>
                    <a:pt x="6853" y="1621"/>
                  </a:cubicBezTo>
                  <a:cubicBezTo>
                    <a:pt x="7727" y="1767"/>
                    <a:pt x="8561" y="2128"/>
                    <a:pt x="9264" y="2656"/>
                  </a:cubicBezTo>
                  <a:cubicBezTo>
                    <a:pt x="9353" y="2721"/>
                    <a:pt x="9439" y="2790"/>
                    <a:pt x="9523" y="2861"/>
                  </a:cubicBezTo>
                  <a:cubicBezTo>
                    <a:pt x="9610" y="2934"/>
                    <a:pt x="9677" y="2994"/>
                    <a:pt x="9774" y="3086"/>
                  </a:cubicBezTo>
                  <a:cubicBezTo>
                    <a:pt x="9957" y="3255"/>
                    <a:pt x="10139" y="3425"/>
                    <a:pt x="10321" y="3594"/>
                  </a:cubicBezTo>
                  <a:cubicBezTo>
                    <a:pt x="10685" y="3931"/>
                    <a:pt x="11047" y="4267"/>
                    <a:pt x="11407" y="4602"/>
                  </a:cubicBezTo>
                  <a:cubicBezTo>
                    <a:pt x="12126" y="5268"/>
                    <a:pt x="12837" y="5926"/>
                    <a:pt x="13534" y="6573"/>
                  </a:cubicBezTo>
                  <a:cubicBezTo>
                    <a:pt x="13882" y="6895"/>
                    <a:pt x="14227" y="7215"/>
                    <a:pt x="14570" y="7531"/>
                  </a:cubicBezTo>
                  <a:cubicBezTo>
                    <a:pt x="14740" y="7689"/>
                    <a:pt x="14910" y="7846"/>
                    <a:pt x="15079" y="8001"/>
                  </a:cubicBezTo>
                  <a:cubicBezTo>
                    <a:pt x="15158" y="8075"/>
                    <a:pt x="15237" y="8148"/>
                    <a:pt x="15316" y="8221"/>
                  </a:cubicBezTo>
                  <a:cubicBezTo>
                    <a:pt x="15402" y="8304"/>
                    <a:pt x="15489" y="8387"/>
                    <a:pt x="15577" y="8470"/>
                  </a:cubicBezTo>
                  <a:cubicBezTo>
                    <a:pt x="16277" y="9122"/>
                    <a:pt x="17026" y="9687"/>
                    <a:pt x="17793" y="10161"/>
                  </a:cubicBezTo>
                  <a:cubicBezTo>
                    <a:pt x="19329" y="11113"/>
                    <a:pt x="20932" y="11699"/>
                    <a:pt x="22415" y="12022"/>
                  </a:cubicBezTo>
                  <a:cubicBezTo>
                    <a:pt x="23690" y="12299"/>
                    <a:pt x="24941" y="12404"/>
                    <a:pt x="26148" y="12379"/>
                  </a:cubicBezTo>
                  <a:cubicBezTo>
                    <a:pt x="27356" y="12352"/>
                    <a:pt x="28527" y="12195"/>
                    <a:pt x="29650" y="11913"/>
                  </a:cubicBezTo>
                  <a:cubicBezTo>
                    <a:pt x="30847" y="11614"/>
                    <a:pt x="31924" y="11185"/>
                    <a:pt x="32850" y="10698"/>
                  </a:cubicBezTo>
                  <a:cubicBezTo>
                    <a:pt x="33779" y="10211"/>
                    <a:pt x="34558" y="9669"/>
                    <a:pt x="35193" y="9144"/>
                  </a:cubicBezTo>
                  <a:cubicBezTo>
                    <a:pt x="35510" y="8882"/>
                    <a:pt x="35791" y="8626"/>
                    <a:pt x="36040" y="8381"/>
                  </a:cubicBezTo>
                  <a:cubicBezTo>
                    <a:pt x="36276" y="8145"/>
                    <a:pt x="36493" y="7927"/>
                    <a:pt x="36689" y="7728"/>
                  </a:cubicBezTo>
                  <a:cubicBezTo>
                    <a:pt x="37071" y="7341"/>
                    <a:pt x="37356" y="7044"/>
                    <a:pt x="37531" y="6852"/>
                  </a:cubicBezTo>
                  <a:cubicBezTo>
                    <a:pt x="38004" y="6364"/>
                    <a:pt x="38370" y="5976"/>
                    <a:pt x="38644" y="5676"/>
                  </a:cubicBezTo>
                  <a:cubicBezTo>
                    <a:pt x="38679" y="5636"/>
                    <a:pt x="38713" y="5598"/>
                    <a:pt x="38746" y="5561"/>
                  </a:cubicBezTo>
                  <a:cubicBezTo>
                    <a:pt x="38977" y="5305"/>
                    <a:pt x="39127" y="5124"/>
                    <a:pt x="39197" y="5020"/>
                  </a:cubicBezTo>
                  <a:cubicBezTo>
                    <a:pt x="39268" y="4915"/>
                    <a:pt x="39277" y="4867"/>
                    <a:pt x="39161" y="4935"/>
                  </a:cubicBezTo>
                  <a:cubicBezTo>
                    <a:pt x="39027" y="5015"/>
                    <a:pt x="38866" y="5119"/>
                    <a:pt x="38608" y="5316"/>
                  </a:cubicBezTo>
                  <a:cubicBezTo>
                    <a:pt x="38279" y="5567"/>
                    <a:pt x="37834" y="5929"/>
                    <a:pt x="37244" y="6429"/>
                  </a:cubicBezTo>
                  <a:cubicBezTo>
                    <a:pt x="36951" y="6679"/>
                    <a:pt x="36619" y="6963"/>
                    <a:pt x="36249" y="7286"/>
                  </a:cubicBezTo>
                  <a:cubicBezTo>
                    <a:pt x="36062" y="7448"/>
                    <a:pt x="35866" y="7619"/>
                    <a:pt x="35661" y="7797"/>
                  </a:cubicBezTo>
                  <a:cubicBezTo>
                    <a:pt x="35459" y="7975"/>
                    <a:pt x="35241" y="8155"/>
                    <a:pt x="35007" y="8337"/>
                  </a:cubicBezTo>
                  <a:cubicBezTo>
                    <a:pt x="34067" y="9063"/>
                    <a:pt x="32846" y="9823"/>
                    <a:pt x="31255" y="10402"/>
                  </a:cubicBezTo>
                  <a:cubicBezTo>
                    <a:pt x="29669" y="10978"/>
                    <a:pt x="27703" y="11362"/>
                    <a:pt x="25427" y="11242"/>
                  </a:cubicBezTo>
                  <a:cubicBezTo>
                    <a:pt x="25081" y="11207"/>
                    <a:pt x="24334" y="11158"/>
                    <a:pt x="23346" y="10965"/>
                  </a:cubicBezTo>
                  <a:cubicBezTo>
                    <a:pt x="22359" y="10774"/>
                    <a:pt x="21130" y="10426"/>
                    <a:pt x="19876" y="9816"/>
                  </a:cubicBezTo>
                  <a:cubicBezTo>
                    <a:pt x="19250" y="9514"/>
                    <a:pt x="18620" y="9147"/>
                    <a:pt x="18014" y="8720"/>
                  </a:cubicBezTo>
                  <a:cubicBezTo>
                    <a:pt x="17408" y="8294"/>
                    <a:pt x="16826" y="7807"/>
                    <a:pt x="16294" y="7273"/>
                  </a:cubicBezTo>
                  <a:cubicBezTo>
                    <a:pt x="15142" y="6181"/>
                    <a:pt x="13996" y="5093"/>
                    <a:pt x="12954" y="4106"/>
                  </a:cubicBezTo>
                  <a:cubicBezTo>
                    <a:pt x="12195" y="3383"/>
                    <a:pt x="11444" y="2669"/>
                    <a:pt x="10700" y="1961"/>
                  </a:cubicBezTo>
                  <a:cubicBezTo>
                    <a:pt x="9873" y="1181"/>
                    <a:pt x="8868" y="610"/>
                    <a:pt x="7785" y="303"/>
                  </a:cubicBezTo>
                  <a:cubicBezTo>
                    <a:pt x="7243" y="149"/>
                    <a:pt x="6687" y="61"/>
                    <a:pt x="6124" y="39"/>
                  </a:cubicBezTo>
                  <a:cubicBezTo>
                    <a:pt x="5614" y="35"/>
                    <a:pt x="5104" y="30"/>
                    <a:pt x="4593" y="25"/>
                  </a:cubicBezTo>
                  <a:cubicBezTo>
                    <a:pt x="3479" y="18"/>
                    <a:pt x="2118" y="0"/>
                    <a:pt x="1246" y="0"/>
                  </a:cubicBezTo>
                  <a:cubicBezTo>
                    <a:pt x="374" y="0"/>
                    <a:pt x="97" y="503"/>
                    <a:pt x="97" y="1138"/>
                  </a:cubicBezTo>
                  <a:cubicBezTo>
                    <a:pt x="97" y="1773"/>
                    <a:pt x="76" y="4185"/>
                    <a:pt x="67" y="5741"/>
                  </a:cubicBezTo>
                  <a:cubicBezTo>
                    <a:pt x="54" y="8177"/>
                    <a:pt x="41" y="10618"/>
                    <a:pt x="27" y="13148"/>
                  </a:cubicBezTo>
                  <a:cubicBezTo>
                    <a:pt x="19" y="15633"/>
                    <a:pt x="10" y="18190"/>
                    <a:pt x="1" y="20794"/>
                  </a:cubicBezTo>
                  <a:cubicBezTo>
                    <a:pt x="1" y="20958"/>
                    <a:pt x="1" y="21120"/>
                    <a:pt x="0" y="21286"/>
                  </a:cubicBezTo>
                  <a:cubicBezTo>
                    <a:pt x="1" y="21502"/>
                    <a:pt x="21" y="21720"/>
                    <a:pt x="64" y="21931"/>
                  </a:cubicBezTo>
                  <a:cubicBezTo>
                    <a:pt x="145" y="22357"/>
                    <a:pt x="307" y="22755"/>
                    <a:pt x="515" y="23110"/>
                  </a:cubicBezTo>
                  <a:cubicBezTo>
                    <a:pt x="936" y="23823"/>
                    <a:pt x="1524" y="24369"/>
                    <a:pt x="2175" y="24786"/>
                  </a:cubicBezTo>
                  <a:cubicBezTo>
                    <a:pt x="2830" y="25198"/>
                    <a:pt x="3559" y="25489"/>
                    <a:pt x="4348" y="25613"/>
                  </a:cubicBezTo>
                  <a:cubicBezTo>
                    <a:pt x="4545" y="25644"/>
                    <a:pt x="4746" y="25662"/>
                    <a:pt x="4951" y="25669"/>
                  </a:cubicBezTo>
                  <a:cubicBezTo>
                    <a:pt x="5223" y="25671"/>
                    <a:pt x="5223" y="25671"/>
                    <a:pt x="5223" y="25671"/>
                  </a:cubicBezTo>
                  <a:cubicBezTo>
                    <a:pt x="5478" y="25671"/>
                    <a:pt x="5478" y="25671"/>
                    <a:pt x="5478" y="25671"/>
                  </a:cubicBezTo>
                  <a:cubicBezTo>
                    <a:pt x="5650" y="25669"/>
                    <a:pt x="5823" y="25667"/>
                    <a:pt x="5997" y="25662"/>
                  </a:cubicBezTo>
                  <a:cubicBezTo>
                    <a:pt x="6262" y="25653"/>
                    <a:pt x="6262" y="25653"/>
                    <a:pt x="6262" y="25653"/>
                  </a:cubicBezTo>
                  <a:cubicBezTo>
                    <a:pt x="6398" y="25646"/>
                    <a:pt x="6398" y="25646"/>
                    <a:pt x="6398" y="25646"/>
                  </a:cubicBezTo>
                  <a:cubicBezTo>
                    <a:pt x="6471" y="25642"/>
                    <a:pt x="6546" y="25637"/>
                    <a:pt x="6619" y="25631"/>
                  </a:cubicBezTo>
                  <a:cubicBezTo>
                    <a:pt x="6912" y="25606"/>
                    <a:pt x="7209" y="25570"/>
                    <a:pt x="7459" y="25467"/>
                  </a:cubicBezTo>
                  <a:cubicBezTo>
                    <a:pt x="7583" y="25415"/>
                    <a:pt x="7696" y="25350"/>
                    <a:pt x="7800" y="25262"/>
                  </a:cubicBezTo>
                  <a:cubicBezTo>
                    <a:pt x="7904" y="25173"/>
                    <a:pt x="7994" y="25065"/>
                    <a:pt x="8059" y="24948"/>
                  </a:cubicBezTo>
                  <a:cubicBezTo>
                    <a:pt x="8125" y="24832"/>
                    <a:pt x="8170" y="24708"/>
                    <a:pt x="8202" y="24575"/>
                  </a:cubicBezTo>
                  <a:cubicBezTo>
                    <a:pt x="8217" y="24510"/>
                    <a:pt x="8229" y="24441"/>
                    <a:pt x="8237" y="24369"/>
                  </a:cubicBezTo>
                  <a:cubicBezTo>
                    <a:pt x="8240" y="24297"/>
                    <a:pt x="8241" y="24223"/>
                    <a:pt x="8242" y="24149"/>
                  </a:cubicBezTo>
                  <a:cubicBezTo>
                    <a:pt x="8252" y="23709"/>
                    <a:pt x="8252" y="23709"/>
                    <a:pt x="8252" y="23709"/>
                  </a:cubicBezTo>
                  <a:cubicBezTo>
                    <a:pt x="8252" y="23446"/>
                    <a:pt x="8252" y="23446"/>
                    <a:pt x="8252" y="23446"/>
                  </a:cubicBezTo>
                  <a:cubicBezTo>
                    <a:pt x="8253" y="22775"/>
                    <a:pt x="8253" y="22106"/>
                    <a:pt x="8254" y="21434"/>
                  </a:cubicBezTo>
                  <a:cubicBezTo>
                    <a:pt x="8254" y="20094"/>
                    <a:pt x="8253" y="18751"/>
                    <a:pt x="8253" y="17409"/>
                  </a:cubicBezTo>
                  <a:cubicBezTo>
                    <a:pt x="8253" y="17159"/>
                    <a:pt x="8253" y="17159"/>
                    <a:pt x="8253" y="17159"/>
                  </a:cubicBezTo>
                  <a:cubicBezTo>
                    <a:pt x="8253" y="17036"/>
                    <a:pt x="8253" y="17036"/>
                    <a:pt x="8253" y="17036"/>
                  </a:cubicBezTo>
                  <a:cubicBezTo>
                    <a:pt x="8254" y="17005"/>
                    <a:pt x="8254" y="16975"/>
                    <a:pt x="8255" y="16944"/>
                  </a:cubicBezTo>
                  <a:cubicBezTo>
                    <a:pt x="8261" y="16818"/>
                    <a:pt x="8275" y="16695"/>
                    <a:pt x="8298" y="16573"/>
                  </a:cubicBezTo>
                  <a:cubicBezTo>
                    <a:pt x="8346" y="16327"/>
                    <a:pt x="8430" y="16091"/>
                    <a:pt x="8547" y="15871"/>
                  </a:cubicBezTo>
                  <a:cubicBezTo>
                    <a:pt x="8781" y="15429"/>
                    <a:pt x="9152" y="15058"/>
                    <a:pt x="9588" y="14825"/>
                  </a:cubicBezTo>
                  <a:cubicBezTo>
                    <a:pt x="9806" y="14708"/>
                    <a:pt x="10040" y="14625"/>
                    <a:pt x="10280" y="14580"/>
                  </a:cubicBezTo>
                  <a:cubicBezTo>
                    <a:pt x="10399" y="14557"/>
                    <a:pt x="10521" y="14544"/>
                    <a:pt x="10643" y="14540"/>
                  </a:cubicBezTo>
                  <a:cubicBezTo>
                    <a:pt x="10700" y="14539"/>
                    <a:pt x="10774" y="14539"/>
                    <a:pt x="10845" y="14540"/>
                  </a:cubicBezTo>
                  <a:cubicBezTo>
                    <a:pt x="10915" y="14542"/>
                    <a:pt x="10986" y="14544"/>
                    <a:pt x="11057" y="14549"/>
                  </a:cubicBezTo>
                  <a:cubicBezTo>
                    <a:pt x="11622" y="14587"/>
                    <a:pt x="12181" y="14723"/>
                    <a:pt x="12720" y="14939"/>
                  </a:cubicBezTo>
                  <a:cubicBezTo>
                    <a:pt x="13804" y="15372"/>
                    <a:pt x="14799" y="16113"/>
                    <a:pt x="15742" y="16933"/>
                  </a:cubicBezTo>
                  <a:cubicBezTo>
                    <a:pt x="16215" y="17346"/>
                    <a:pt x="16679" y="17779"/>
                    <a:pt x="17149" y="18219"/>
                  </a:cubicBezTo>
                  <a:cubicBezTo>
                    <a:pt x="17384" y="18437"/>
                    <a:pt x="17622" y="18659"/>
                    <a:pt x="17864" y="18877"/>
                  </a:cubicBezTo>
                  <a:cubicBezTo>
                    <a:pt x="18104" y="19090"/>
                    <a:pt x="18342" y="19301"/>
                    <a:pt x="18580" y="19512"/>
                  </a:cubicBezTo>
                  <a:cubicBezTo>
                    <a:pt x="19519" y="20346"/>
                    <a:pt x="20434" y="21212"/>
                    <a:pt x="21439" y="22011"/>
                  </a:cubicBezTo>
                  <a:cubicBezTo>
                    <a:pt x="21944" y="22407"/>
                    <a:pt x="22473" y="22790"/>
                    <a:pt x="23055" y="23116"/>
                  </a:cubicBezTo>
                  <a:cubicBezTo>
                    <a:pt x="23634" y="23440"/>
                    <a:pt x="24275" y="23711"/>
                    <a:pt x="24961" y="23846"/>
                  </a:cubicBezTo>
                  <a:cubicBezTo>
                    <a:pt x="25645" y="23985"/>
                    <a:pt x="26367" y="23976"/>
                    <a:pt x="27032" y="23830"/>
                  </a:cubicBezTo>
                  <a:cubicBezTo>
                    <a:pt x="27702" y="23686"/>
                    <a:pt x="28308" y="23421"/>
                    <a:pt x="28852" y="23112"/>
                  </a:cubicBezTo>
                  <a:cubicBezTo>
                    <a:pt x="29396" y="22804"/>
                    <a:pt x="29883" y="22452"/>
                    <a:pt x="30339" y="22092"/>
                  </a:cubicBezTo>
                  <a:cubicBezTo>
                    <a:pt x="30793" y="21731"/>
                    <a:pt x="31217" y="21361"/>
                    <a:pt x="31626" y="20994"/>
                  </a:cubicBezTo>
                  <a:cubicBezTo>
                    <a:pt x="32034" y="20626"/>
                    <a:pt x="32426" y="20262"/>
                    <a:pt x="32811" y="19905"/>
                  </a:cubicBezTo>
                  <a:cubicBezTo>
                    <a:pt x="33002" y="19728"/>
                    <a:pt x="33193" y="19553"/>
                    <a:pt x="33382" y="19378"/>
                  </a:cubicBezTo>
                  <a:cubicBezTo>
                    <a:pt x="33574" y="19205"/>
                    <a:pt x="33765" y="19030"/>
                    <a:pt x="33954" y="18859"/>
                  </a:cubicBezTo>
                  <a:cubicBezTo>
                    <a:pt x="34720" y="18152"/>
                    <a:pt x="35408" y="17460"/>
                    <a:pt x="36096" y="16843"/>
                  </a:cubicBezTo>
                  <a:cubicBezTo>
                    <a:pt x="36740" y="16264"/>
                    <a:pt x="37383" y="15749"/>
                    <a:pt x="38041" y="15336"/>
                  </a:cubicBezTo>
                  <a:cubicBezTo>
                    <a:pt x="38697" y="14923"/>
                    <a:pt x="39367" y="14620"/>
                    <a:pt x="40031" y="14454"/>
                  </a:cubicBezTo>
                  <a:cubicBezTo>
                    <a:pt x="40358" y="14371"/>
                    <a:pt x="40681" y="14320"/>
                    <a:pt x="40998" y="14299"/>
                  </a:cubicBezTo>
                  <a:cubicBezTo>
                    <a:pt x="41077" y="14295"/>
                    <a:pt x="41155" y="14290"/>
                    <a:pt x="41234" y="14288"/>
                  </a:cubicBezTo>
                  <a:cubicBezTo>
                    <a:pt x="41309" y="14288"/>
                    <a:pt x="41376" y="14288"/>
                    <a:pt x="41447" y="14292"/>
                  </a:cubicBezTo>
                  <a:cubicBezTo>
                    <a:pt x="41586" y="14299"/>
                    <a:pt x="41724" y="14319"/>
                    <a:pt x="41859" y="14346"/>
                  </a:cubicBezTo>
                  <a:cubicBezTo>
                    <a:pt x="42394" y="14461"/>
                    <a:pt x="42865" y="14737"/>
                    <a:pt x="43221" y="15092"/>
                  </a:cubicBezTo>
                  <a:cubicBezTo>
                    <a:pt x="43579" y="15446"/>
                    <a:pt x="43825" y="15877"/>
                    <a:pt x="43955" y="16317"/>
                  </a:cubicBezTo>
                  <a:cubicBezTo>
                    <a:pt x="44020" y="16536"/>
                    <a:pt x="44057" y="16762"/>
                    <a:pt x="44068" y="16982"/>
                  </a:cubicBezTo>
                  <a:cubicBezTo>
                    <a:pt x="44074" y="17238"/>
                    <a:pt x="44081" y="17489"/>
                    <a:pt x="44087" y="17737"/>
                  </a:cubicBezTo>
                  <a:cubicBezTo>
                    <a:pt x="44114" y="18733"/>
                    <a:pt x="44138" y="19658"/>
                    <a:pt x="44161" y="20559"/>
                  </a:cubicBezTo>
                  <a:cubicBezTo>
                    <a:pt x="44167" y="20783"/>
                    <a:pt x="44174" y="21006"/>
                    <a:pt x="44179" y="21228"/>
                  </a:cubicBezTo>
                  <a:cubicBezTo>
                    <a:pt x="44181" y="21279"/>
                    <a:pt x="44183" y="21351"/>
                    <a:pt x="44188" y="21412"/>
                  </a:cubicBezTo>
                  <a:cubicBezTo>
                    <a:pt x="44192" y="21475"/>
                    <a:pt x="44199" y="21540"/>
                    <a:pt x="44208" y="21603"/>
                  </a:cubicBezTo>
                  <a:cubicBezTo>
                    <a:pt x="44226" y="21729"/>
                    <a:pt x="44251" y="21854"/>
                    <a:pt x="44286" y="21975"/>
                  </a:cubicBezTo>
                  <a:cubicBezTo>
                    <a:pt x="44421" y="22461"/>
                    <a:pt x="44673" y="22894"/>
                    <a:pt x="44984" y="23266"/>
                  </a:cubicBezTo>
                  <a:cubicBezTo>
                    <a:pt x="45504" y="23884"/>
                    <a:pt x="46224" y="24380"/>
                    <a:pt x="47027" y="24697"/>
                  </a:cubicBezTo>
                  <a:cubicBezTo>
                    <a:pt x="47430" y="24856"/>
                    <a:pt x="47855" y="24969"/>
                    <a:pt x="48288" y="25022"/>
                  </a:cubicBezTo>
                  <a:cubicBezTo>
                    <a:pt x="48505" y="25047"/>
                    <a:pt x="48728" y="25056"/>
                    <a:pt x="48940" y="25049"/>
                  </a:cubicBezTo>
                  <a:cubicBezTo>
                    <a:pt x="49147" y="25043"/>
                    <a:pt x="49351" y="25036"/>
                    <a:pt x="49556" y="25025"/>
                  </a:cubicBezTo>
                  <a:cubicBezTo>
                    <a:pt x="49657" y="25020"/>
                    <a:pt x="49759" y="25014"/>
                    <a:pt x="49861" y="25009"/>
                  </a:cubicBezTo>
                  <a:cubicBezTo>
                    <a:pt x="49965" y="25000"/>
                    <a:pt x="50070" y="24993"/>
                    <a:pt x="50174" y="24986"/>
                  </a:cubicBezTo>
                  <a:cubicBezTo>
                    <a:pt x="50405" y="24964"/>
                    <a:pt x="50636" y="24939"/>
                    <a:pt x="50841" y="24879"/>
                  </a:cubicBezTo>
                  <a:cubicBezTo>
                    <a:pt x="50892" y="24863"/>
                    <a:pt x="50942" y="24845"/>
                    <a:pt x="50989" y="24822"/>
                  </a:cubicBezTo>
                  <a:cubicBezTo>
                    <a:pt x="51036" y="24798"/>
                    <a:pt x="51079" y="24764"/>
                    <a:pt x="51117" y="24726"/>
                  </a:cubicBezTo>
                  <a:cubicBezTo>
                    <a:pt x="51193" y="24650"/>
                    <a:pt x="51237" y="24549"/>
                    <a:pt x="51260" y="24450"/>
                  </a:cubicBezTo>
                  <a:cubicBezTo>
                    <a:pt x="51304" y="24248"/>
                    <a:pt x="51285" y="24035"/>
                    <a:pt x="51284" y="23835"/>
                  </a:cubicBezTo>
                  <a:cubicBezTo>
                    <a:pt x="51281" y="23742"/>
                    <a:pt x="51280" y="23648"/>
                    <a:pt x="51278" y="23556"/>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0"/>
            <p:cNvSpPr>
              <a:spLocks/>
            </p:cNvSpPr>
            <p:nvPr userDrawn="1"/>
          </p:nvSpPr>
          <p:spPr bwMode="auto">
            <a:xfrm>
              <a:off x="-83958112" y="19589750"/>
              <a:ext cx="174477363" cy="95365887"/>
            </a:xfrm>
            <a:custGeom>
              <a:avLst/>
              <a:gdLst>
                <a:gd name="T0" fmla="*/ 45081 w 46525"/>
                <a:gd name="T1" fmla="*/ 22916 h 25428"/>
                <a:gd name="T2" fmla="*/ 44338 w 46525"/>
                <a:gd name="T3" fmla="*/ 21302 h 25428"/>
                <a:gd name="T4" fmla="*/ 44248 w 46525"/>
                <a:gd name="T5" fmla="*/ 18713 h 25428"/>
                <a:gd name="T6" fmla="*/ 44198 w 46525"/>
                <a:gd name="T7" fmla="*/ 16820 h 25428"/>
                <a:gd name="T8" fmla="*/ 43209 w 46525"/>
                <a:gd name="T9" fmla="*/ 14732 h 25428"/>
                <a:gd name="T10" fmla="*/ 41000 w 46525"/>
                <a:gd name="T11" fmla="*/ 13928 h 25428"/>
                <a:gd name="T12" fmla="*/ 36673 w 46525"/>
                <a:gd name="T13" fmla="*/ 15821 h 25428"/>
                <a:gd name="T14" fmla="*/ 31594 w 46525"/>
                <a:gd name="T15" fmla="*/ 20500 h 25428"/>
                <a:gd name="T16" fmla="*/ 27186 w 46525"/>
                <a:gd name="T17" fmla="*/ 23435 h 25428"/>
                <a:gd name="T18" fmla="*/ 22870 w 46525"/>
                <a:gd name="T19" fmla="*/ 22741 h 25428"/>
                <a:gd name="T20" fmla="*/ 18427 w 46525"/>
                <a:gd name="T21" fmla="*/ 19131 h 25428"/>
                <a:gd name="T22" fmla="*/ 15190 w 46525"/>
                <a:gd name="T23" fmla="*/ 16239 h 25428"/>
                <a:gd name="T24" fmla="*/ 10883 w 46525"/>
                <a:gd name="T25" fmla="*/ 14279 h 25428"/>
                <a:gd name="T26" fmla="*/ 9150 w 46525"/>
                <a:gd name="T27" fmla="*/ 14730 h 25428"/>
                <a:gd name="T28" fmla="*/ 7993 w 46525"/>
                <a:gd name="T29" fmla="*/ 16935 h 25428"/>
                <a:gd name="T30" fmla="*/ 7995 w 46525"/>
                <a:gd name="T31" fmla="*/ 18300 h 25428"/>
                <a:gd name="T32" fmla="*/ 8002 w 46525"/>
                <a:gd name="T33" fmla="*/ 23415 h 25428"/>
                <a:gd name="T34" fmla="*/ 8001 w 46525"/>
                <a:gd name="T35" fmla="*/ 23646 h 25428"/>
                <a:gd name="T36" fmla="*/ 7908 w 46525"/>
                <a:gd name="T37" fmla="*/ 24587 h 25428"/>
                <a:gd name="T38" fmla="*/ 6120 w 46525"/>
                <a:gd name="T39" fmla="*/ 25410 h 25428"/>
                <a:gd name="T40" fmla="*/ 5092 w 46525"/>
                <a:gd name="T41" fmla="*/ 25428 h 25428"/>
                <a:gd name="T42" fmla="*/ 3723 w 46525"/>
                <a:gd name="T43" fmla="*/ 25264 h 25428"/>
                <a:gd name="T44" fmla="*/ 232 w 46525"/>
                <a:gd name="T45" fmla="*/ 22380 h 25428"/>
                <a:gd name="T46" fmla="*/ 0 w 46525"/>
                <a:gd name="T47" fmla="*/ 21138 h 25428"/>
                <a:gd name="T48" fmla="*/ 3 w 46525"/>
                <a:gd name="T49" fmla="*/ 19732 h 25428"/>
                <a:gd name="T50" fmla="*/ 1172 w 46525"/>
                <a:gd name="T51" fmla="*/ 0 h 25428"/>
                <a:gd name="T52" fmla="*/ 6138 w 46525"/>
                <a:gd name="T53" fmla="*/ 40 h 25428"/>
                <a:gd name="T54" fmla="*/ 7478 w 46525"/>
                <a:gd name="T55" fmla="*/ 250 h 25428"/>
                <a:gd name="T56" fmla="*/ 10550 w 46525"/>
                <a:gd name="T57" fmla="*/ 1974 h 25428"/>
                <a:gd name="T58" fmla="*/ 12103 w 46525"/>
                <a:gd name="T59" fmla="*/ 3460 h 25428"/>
                <a:gd name="T60" fmla="*/ 15899 w 46525"/>
                <a:gd name="T61" fmla="*/ 7099 h 25428"/>
                <a:gd name="T62" fmla="*/ 16518 w 46525"/>
                <a:gd name="T63" fmla="*/ 7699 h 25428"/>
                <a:gd name="T64" fmla="*/ 24413 w 46525"/>
                <a:gd name="T65" fmla="*/ 11240 h 25428"/>
                <a:gd name="T66" fmla="*/ 33252 w 46525"/>
                <a:gd name="T67" fmla="*/ 9663 h 25428"/>
                <a:gd name="T68" fmla="*/ 31776 w 46525"/>
                <a:gd name="T69" fmla="*/ 10761 h 25428"/>
                <a:gd name="T70" fmla="*/ 24737 w 46525"/>
                <a:gd name="T71" fmla="*/ 12098 h 25428"/>
                <a:gd name="T72" fmla="*/ 15373 w 46525"/>
                <a:gd name="T73" fmla="*/ 8037 h 25428"/>
                <a:gd name="T74" fmla="*/ 15133 w 46525"/>
                <a:gd name="T75" fmla="*/ 7811 h 25428"/>
                <a:gd name="T76" fmla="*/ 11552 w 46525"/>
                <a:gd name="T77" fmla="*/ 4476 h 25428"/>
                <a:gd name="T78" fmla="*/ 9726 w 46525"/>
                <a:gd name="T79" fmla="*/ 2773 h 25428"/>
                <a:gd name="T80" fmla="*/ 9481 w 46525"/>
                <a:gd name="T81" fmla="*/ 2558 h 25428"/>
                <a:gd name="T82" fmla="*/ 4383 w 46525"/>
                <a:gd name="T83" fmla="*/ 1236 h 25428"/>
                <a:gd name="T84" fmla="*/ 1401 w 46525"/>
                <a:gd name="T85" fmla="*/ 19072 h 25428"/>
                <a:gd name="T86" fmla="*/ 1408 w 46525"/>
                <a:gd name="T87" fmla="*/ 21014 h 25428"/>
                <a:gd name="T88" fmla="*/ 2150 w 46525"/>
                <a:gd name="T89" fmla="*/ 22770 h 25428"/>
                <a:gd name="T90" fmla="*/ 4852 w 46525"/>
                <a:gd name="T91" fmla="*/ 23987 h 25428"/>
                <a:gd name="T92" fmla="*/ 5638 w 46525"/>
                <a:gd name="T93" fmla="*/ 23980 h 25428"/>
                <a:gd name="T94" fmla="*/ 6271 w 46525"/>
                <a:gd name="T95" fmla="*/ 23951 h 25428"/>
                <a:gd name="T96" fmla="*/ 6527 w 46525"/>
                <a:gd name="T97" fmla="*/ 23854 h 25428"/>
                <a:gd name="T98" fmla="*/ 6511 w 46525"/>
                <a:gd name="T99" fmla="*/ 17404 h 25428"/>
                <a:gd name="T100" fmla="*/ 7014 w 46525"/>
                <a:gd name="T101" fmla="*/ 14932 h 25428"/>
                <a:gd name="T102" fmla="*/ 10633 w 46525"/>
                <a:gd name="T103" fmla="*/ 12779 h 25428"/>
                <a:gd name="T104" fmla="*/ 13931 w 46525"/>
                <a:gd name="T105" fmla="*/ 13628 h 25428"/>
                <a:gd name="T106" fmla="*/ 18455 w 46525"/>
                <a:gd name="T107" fmla="*/ 17222 h 25428"/>
                <a:gd name="T108" fmla="*/ 20887 w 46525"/>
                <a:gd name="T109" fmla="*/ 19441 h 25428"/>
                <a:gd name="T110" fmla="*/ 25829 w 46525"/>
                <a:gd name="T111" fmla="*/ 22317 h 25428"/>
                <a:gd name="T112" fmla="*/ 30470 w 46525"/>
                <a:gd name="T113" fmla="*/ 19910 h 25428"/>
                <a:gd name="T114" fmla="*/ 32789 w 46525"/>
                <a:gd name="T115" fmla="*/ 17876 h 25428"/>
                <a:gd name="T116" fmla="*/ 37500 w 46525"/>
                <a:gd name="T117" fmla="*/ 14056 h 25428"/>
                <a:gd name="T118" fmla="*/ 43119 w 46525"/>
                <a:gd name="T119" fmla="*/ 13639 h 25428"/>
                <a:gd name="T120" fmla="*/ 44875 w 46525"/>
                <a:gd name="T121" fmla="*/ 19688 h 25428"/>
                <a:gd name="T122" fmla="*/ 44856 w 46525"/>
                <a:gd name="T123" fmla="*/ 21421 h 25428"/>
                <a:gd name="T124" fmla="*/ 46280 w 46525"/>
                <a:gd name="T125" fmla="*/ 23599 h 25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525" h="25428">
                  <a:moveTo>
                    <a:pt x="46364" y="23837"/>
                  </a:moveTo>
                  <a:cubicBezTo>
                    <a:pt x="46254" y="23799"/>
                    <a:pt x="46079" y="23720"/>
                    <a:pt x="45856" y="23578"/>
                  </a:cubicBezTo>
                  <a:cubicBezTo>
                    <a:pt x="45634" y="23433"/>
                    <a:pt x="45359" y="23228"/>
                    <a:pt x="45081" y="22916"/>
                  </a:cubicBezTo>
                  <a:cubicBezTo>
                    <a:pt x="44896" y="22707"/>
                    <a:pt x="44709" y="22451"/>
                    <a:pt x="44563" y="22128"/>
                  </a:cubicBezTo>
                  <a:cubicBezTo>
                    <a:pt x="44490" y="21968"/>
                    <a:pt x="44428" y="21791"/>
                    <a:pt x="44385" y="21600"/>
                  </a:cubicBezTo>
                  <a:cubicBezTo>
                    <a:pt x="44364" y="21504"/>
                    <a:pt x="44348" y="21405"/>
                    <a:pt x="44338" y="21302"/>
                  </a:cubicBezTo>
                  <a:cubicBezTo>
                    <a:pt x="44331" y="21252"/>
                    <a:pt x="44330" y="21198"/>
                    <a:pt x="44326" y="21145"/>
                  </a:cubicBezTo>
                  <a:cubicBezTo>
                    <a:pt x="44323" y="21095"/>
                    <a:pt x="44321" y="21044"/>
                    <a:pt x="44320" y="20994"/>
                  </a:cubicBezTo>
                  <a:cubicBezTo>
                    <a:pt x="44296" y="20334"/>
                    <a:pt x="44271" y="19571"/>
                    <a:pt x="44248" y="18713"/>
                  </a:cubicBezTo>
                  <a:cubicBezTo>
                    <a:pt x="44237" y="18282"/>
                    <a:pt x="44226" y="17829"/>
                    <a:pt x="44213" y="17357"/>
                  </a:cubicBezTo>
                  <a:cubicBezTo>
                    <a:pt x="44210" y="17236"/>
                    <a:pt x="44207" y="17115"/>
                    <a:pt x="44204" y="16995"/>
                  </a:cubicBezTo>
                  <a:cubicBezTo>
                    <a:pt x="44202" y="16932"/>
                    <a:pt x="44201" y="16876"/>
                    <a:pt x="44198" y="16820"/>
                  </a:cubicBezTo>
                  <a:cubicBezTo>
                    <a:pt x="44194" y="16762"/>
                    <a:pt x="44190" y="16706"/>
                    <a:pt x="44183" y="16648"/>
                  </a:cubicBezTo>
                  <a:cubicBezTo>
                    <a:pt x="44155" y="16419"/>
                    <a:pt x="44103" y="16189"/>
                    <a:pt x="44022" y="15963"/>
                  </a:cubicBezTo>
                  <a:cubicBezTo>
                    <a:pt x="43862" y="15513"/>
                    <a:pt x="43586" y="15082"/>
                    <a:pt x="43209" y="14732"/>
                  </a:cubicBezTo>
                  <a:cubicBezTo>
                    <a:pt x="42834" y="14380"/>
                    <a:pt x="42356" y="14113"/>
                    <a:pt x="41826" y="13994"/>
                  </a:cubicBezTo>
                  <a:cubicBezTo>
                    <a:pt x="41694" y="13964"/>
                    <a:pt x="41559" y="13944"/>
                    <a:pt x="41422" y="13931"/>
                  </a:cubicBezTo>
                  <a:cubicBezTo>
                    <a:pt x="41283" y="13920"/>
                    <a:pt x="41151" y="13920"/>
                    <a:pt x="41000" y="13928"/>
                  </a:cubicBezTo>
                  <a:cubicBezTo>
                    <a:pt x="40706" y="13940"/>
                    <a:pt x="40409" y="13976"/>
                    <a:pt x="40113" y="14038"/>
                  </a:cubicBezTo>
                  <a:cubicBezTo>
                    <a:pt x="39518" y="14158"/>
                    <a:pt x="38927" y="14382"/>
                    <a:pt x="38351" y="14688"/>
                  </a:cubicBezTo>
                  <a:cubicBezTo>
                    <a:pt x="37776" y="14995"/>
                    <a:pt x="37219" y="15381"/>
                    <a:pt x="36673" y="15821"/>
                  </a:cubicBezTo>
                  <a:cubicBezTo>
                    <a:pt x="36126" y="16259"/>
                    <a:pt x="35593" y="16751"/>
                    <a:pt x="35052" y="17267"/>
                  </a:cubicBezTo>
                  <a:cubicBezTo>
                    <a:pt x="34509" y="17783"/>
                    <a:pt x="33955" y="18333"/>
                    <a:pt x="33362" y="18866"/>
                  </a:cubicBezTo>
                  <a:cubicBezTo>
                    <a:pt x="32783" y="19391"/>
                    <a:pt x="32201" y="19943"/>
                    <a:pt x="31594" y="20500"/>
                  </a:cubicBezTo>
                  <a:cubicBezTo>
                    <a:pt x="30985" y="21057"/>
                    <a:pt x="30351" y="21621"/>
                    <a:pt x="29641" y="22148"/>
                  </a:cubicBezTo>
                  <a:cubicBezTo>
                    <a:pt x="29286" y="22411"/>
                    <a:pt x="28909" y="22662"/>
                    <a:pt x="28503" y="22885"/>
                  </a:cubicBezTo>
                  <a:cubicBezTo>
                    <a:pt x="28095" y="23107"/>
                    <a:pt x="27657" y="23300"/>
                    <a:pt x="27186" y="23435"/>
                  </a:cubicBezTo>
                  <a:cubicBezTo>
                    <a:pt x="26714" y="23570"/>
                    <a:pt x="26211" y="23639"/>
                    <a:pt x="25705" y="23626"/>
                  </a:cubicBezTo>
                  <a:cubicBezTo>
                    <a:pt x="25199" y="23616"/>
                    <a:pt x="24694" y="23520"/>
                    <a:pt x="24218" y="23361"/>
                  </a:cubicBezTo>
                  <a:cubicBezTo>
                    <a:pt x="23741" y="23204"/>
                    <a:pt x="23291" y="22988"/>
                    <a:pt x="22870" y="22741"/>
                  </a:cubicBezTo>
                  <a:cubicBezTo>
                    <a:pt x="22447" y="22494"/>
                    <a:pt x="22050" y="22216"/>
                    <a:pt x="21668" y="21926"/>
                  </a:cubicBezTo>
                  <a:cubicBezTo>
                    <a:pt x="20903" y="21345"/>
                    <a:pt x="20195" y="20711"/>
                    <a:pt x="19488" y="20080"/>
                  </a:cubicBezTo>
                  <a:cubicBezTo>
                    <a:pt x="19136" y="19764"/>
                    <a:pt x="18782" y="19449"/>
                    <a:pt x="18427" y="19131"/>
                  </a:cubicBezTo>
                  <a:cubicBezTo>
                    <a:pt x="18246" y="18973"/>
                    <a:pt x="18065" y="18812"/>
                    <a:pt x="17884" y="18654"/>
                  </a:cubicBezTo>
                  <a:cubicBezTo>
                    <a:pt x="17700" y="18489"/>
                    <a:pt x="17520" y="18325"/>
                    <a:pt x="17342" y="18159"/>
                  </a:cubicBezTo>
                  <a:cubicBezTo>
                    <a:pt x="16627" y="17500"/>
                    <a:pt x="15928" y="16836"/>
                    <a:pt x="15190" y="16239"/>
                  </a:cubicBezTo>
                  <a:cubicBezTo>
                    <a:pt x="14453" y="15644"/>
                    <a:pt x="13673" y="15112"/>
                    <a:pt x="12836" y="14752"/>
                  </a:cubicBezTo>
                  <a:cubicBezTo>
                    <a:pt x="12418" y="14571"/>
                    <a:pt x="11987" y="14436"/>
                    <a:pt x="11547" y="14357"/>
                  </a:cubicBezTo>
                  <a:cubicBezTo>
                    <a:pt x="11328" y="14317"/>
                    <a:pt x="11106" y="14290"/>
                    <a:pt x="10883" y="14279"/>
                  </a:cubicBezTo>
                  <a:cubicBezTo>
                    <a:pt x="10774" y="14272"/>
                    <a:pt x="10655" y="14270"/>
                    <a:pt x="10553" y="14272"/>
                  </a:cubicBezTo>
                  <a:cubicBezTo>
                    <a:pt x="10454" y="14276"/>
                    <a:pt x="10355" y="14283"/>
                    <a:pt x="10257" y="14295"/>
                  </a:cubicBezTo>
                  <a:cubicBezTo>
                    <a:pt x="9863" y="14351"/>
                    <a:pt x="9482" y="14501"/>
                    <a:pt x="9150" y="14730"/>
                  </a:cubicBezTo>
                  <a:cubicBezTo>
                    <a:pt x="8818" y="14961"/>
                    <a:pt x="8536" y="15269"/>
                    <a:pt x="8335" y="15623"/>
                  </a:cubicBezTo>
                  <a:cubicBezTo>
                    <a:pt x="8135" y="15978"/>
                    <a:pt x="8018" y="16376"/>
                    <a:pt x="7997" y="16782"/>
                  </a:cubicBezTo>
                  <a:cubicBezTo>
                    <a:pt x="7994" y="16834"/>
                    <a:pt x="7993" y="16883"/>
                    <a:pt x="7993" y="16935"/>
                  </a:cubicBezTo>
                  <a:cubicBezTo>
                    <a:pt x="7993" y="17130"/>
                    <a:pt x="7993" y="17130"/>
                    <a:pt x="7993" y="17130"/>
                  </a:cubicBezTo>
                  <a:cubicBezTo>
                    <a:pt x="7994" y="17519"/>
                    <a:pt x="7994" y="17519"/>
                    <a:pt x="7994" y="17519"/>
                  </a:cubicBezTo>
                  <a:cubicBezTo>
                    <a:pt x="7995" y="17779"/>
                    <a:pt x="7995" y="18040"/>
                    <a:pt x="7995" y="18300"/>
                  </a:cubicBezTo>
                  <a:cubicBezTo>
                    <a:pt x="7998" y="19342"/>
                    <a:pt x="7999" y="20388"/>
                    <a:pt x="8001" y="21439"/>
                  </a:cubicBezTo>
                  <a:cubicBezTo>
                    <a:pt x="8001" y="21966"/>
                    <a:pt x="8002" y="22492"/>
                    <a:pt x="8002" y="23019"/>
                  </a:cubicBezTo>
                  <a:cubicBezTo>
                    <a:pt x="8002" y="23415"/>
                    <a:pt x="8002" y="23415"/>
                    <a:pt x="8002" y="23415"/>
                  </a:cubicBezTo>
                  <a:cubicBezTo>
                    <a:pt x="8002" y="23515"/>
                    <a:pt x="8002" y="23515"/>
                    <a:pt x="8002" y="23515"/>
                  </a:cubicBezTo>
                  <a:cubicBezTo>
                    <a:pt x="8002" y="23563"/>
                    <a:pt x="8002" y="23563"/>
                    <a:pt x="8002" y="23563"/>
                  </a:cubicBezTo>
                  <a:cubicBezTo>
                    <a:pt x="8001" y="23646"/>
                    <a:pt x="8001" y="23646"/>
                    <a:pt x="8001" y="23646"/>
                  </a:cubicBezTo>
                  <a:cubicBezTo>
                    <a:pt x="7995" y="23973"/>
                    <a:pt x="7995" y="23973"/>
                    <a:pt x="7995" y="23973"/>
                  </a:cubicBezTo>
                  <a:cubicBezTo>
                    <a:pt x="7990" y="24079"/>
                    <a:pt x="7997" y="24193"/>
                    <a:pt x="7979" y="24293"/>
                  </a:cubicBezTo>
                  <a:cubicBezTo>
                    <a:pt x="7964" y="24396"/>
                    <a:pt x="7940" y="24494"/>
                    <a:pt x="7908" y="24587"/>
                  </a:cubicBezTo>
                  <a:cubicBezTo>
                    <a:pt x="7844" y="24771"/>
                    <a:pt x="7726" y="24950"/>
                    <a:pt x="7563" y="25074"/>
                  </a:cubicBezTo>
                  <a:cubicBezTo>
                    <a:pt x="7252" y="25318"/>
                    <a:pt x="6804" y="25365"/>
                    <a:pt x="6368" y="25395"/>
                  </a:cubicBezTo>
                  <a:cubicBezTo>
                    <a:pt x="6120" y="25410"/>
                    <a:pt x="6120" y="25410"/>
                    <a:pt x="6120" y="25410"/>
                  </a:cubicBezTo>
                  <a:cubicBezTo>
                    <a:pt x="5911" y="25417"/>
                    <a:pt x="5911" y="25417"/>
                    <a:pt x="5911" y="25417"/>
                  </a:cubicBezTo>
                  <a:cubicBezTo>
                    <a:pt x="5773" y="25422"/>
                    <a:pt x="5636" y="25424"/>
                    <a:pt x="5499" y="25426"/>
                  </a:cubicBezTo>
                  <a:cubicBezTo>
                    <a:pt x="5092" y="25428"/>
                    <a:pt x="5092" y="25428"/>
                    <a:pt x="5092" y="25428"/>
                  </a:cubicBezTo>
                  <a:cubicBezTo>
                    <a:pt x="4881" y="25426"/>
                    <a:pt x="4881" y="25426"/>
                    <a:pt x="4881" y="25426"/>
                  </a:cubicBezTo>
                  <a:cubicBezTo>
                    <a:pt x="4802" y="25426"/>
                    <a:pt x="4722" y="25422"/>
                    <a:pt x="4644" y="25417"/>
                  </a:cubicBezTo>
                  <a:cubicBezTo>
                    <a:pt x="4329" y="25395"/>
                    <a:pt x="4021" y="25341"/>
                    <a:pt x="3723" y="25264"/>
                  </a:cubicBezTo>
                  <a:cubicBezTo>
                    <a:pt x="3127" y="25108"/>
                    <a:pt x="2567" y="24856"/>
                    <a:pt x="2054" y="24521"/>
                  </a:cubicBezTo>
                  <a:cubicBezTo>
                    <a:pt x="1543" y="24185"/>
                    <a:pt x="1074" y="23765"/>
                    <a:pt x="700" y="23242"/>
                  </a:cubicBezTo>
                  <a:cubicBezTo>
                    <a:pt x="514" y="22981"/>
                    <a:pt x="353" y="22692"/>
                    <a:pt x="232" y="22380"/>
                  </a:cubicBezTo>
                  <a:cubicBezTo>
                    <a:pt x="111" y="22069"/>
                    <a:pt x="32" y="21733"/>
                    <a:pt x="8" y="21391"/>
                  </a:cubicBezTo>
                  <a:cubicBezTo>
                    <a:pt x="2" y="21261"/>
                    <a:pt x="2" y="21261"/>
                    <a:pt x="2" y="21261"/>
                  </a:cubicBezTo>
                  <a:cubicBezTo>
                    <a:pt x="0" y="21138"/>
                    <a:pt x="0" y="21138"/>
                    <a:pt x="0" y="21138"/>
                  </a:cubicBezTo>
                  <a:cubicBezTo>
                    <a:pt x="0" y="20938"/>
                    <a:pt x="0" y="20938"/>
                    <a:pt x="0" y="20938"/>
                  </a:cubicBezTo>
                  <a:cubicBezTo>
                    <a:pt x="2" y="20536"/>
                    <a:pt x="2" y="20536"/>
                    <a:pt x="2" y="20536"/>
                  </a:cubicBezTo>
                  <a:cubicBezTo>
                    <a:pt x="3" y="19732"/>
                    <a:pt x="3" y="19732"/>
                    <a:pt x="3" y="19732"/>
                  </a:cubicBezTo>
                  <a:cubicBezTo>
                    <a:pt x="14" y="15444"/>
                    <a:pt x="33" y="11144"/>
                    <a:pt x="61" y="6888"/>
                  </a:cubicBezTo>
                  <a:cubicBezTo>
                    <a:pt x="72" y="4925"/>
                    <a:pt x="93" y="1497"/>
                    <a:pt x="93" y="1070"/>
                  </a:cubicBezTo>
                  <a:cubicBezTo>
                    <a:pt x="93" y="643"/>
                    <a:pt x="258" y="0"/>
                    <a:pt x="1172" y="0"/>
                  </a:cubicBezTo>
                  <a:cubicBezTo>
                    <a:pt x="2081" y="0"/>
                    <a:pt x="3400" y="13"/>
                    <a:pt x="4482" y="21"/>
                  </a:cubicBezTo>
                  <a:cubicBezTo>
                    <a:pt x="4972" y="25"/>
                    <a:pt x="5456" y="28"/>
                    <a:pt x="5937" y="32"/>
                  </a:cubicBezTo>
                  <a:cubicBezTo>
                    <a:pt x="6009" y="33"/>
                    <a:pt x="6073" y="37"/>
                    <a:pt x="6138" y="40"/>
                  </a:cubicBezTo>
                  <a:cubicBezTo>
                    <a:pt x="6203" y="44"/>
                    <a:pt x="6268" y="48"/>
                    <a:pt x="6333" y="54"/>
                  </a:cubicBezTo>
                  <a:cubicBezTo>
                    <a:pt x="6462" y="66"/>
                    <a:pt x="6591" y="80"/>
                    <a:pt x="6720" y="98"/>
                  </a:cubicBezTo>
                  <a:cubicBezTo>
                    <a:pt x="6976" y="135"/>
                    <a:pt x="7229" y="186"/>
                    <a:pt x="7478" y="250"/>
                  </a:cubicBezTo>
                  <a:cubicBezTo>
                    <a:pt x="8474" y="507"/>
                    <a:pt x="9385" y="984"/>
                    <a:pt x="10142" y="1610"/>
                  </a:cubicBezTo>
                  <a:cubicBezTo>
                    <a:pt x="10237" y="1688"/>
                    <a:pt x="10328" y="1768"/>
                    <a:pt x="10420" y="1852"/>
                  </a:cubicBezTo>
                  <a:cubicBezTo>
                    <a:pt x="10550" y="1974"/>
                    <a:pt x="10550" y="1974"/>
                    <a:pt x="10550" y="1974"/>
                  </a:cubicBezTo>
                  <a:cubicBezTo>
                    <a:pt x="10671" y="2090"/>
                    <a:pt x="10671" y="2090"/>
                    <a:pt x="10671" y="2090"/>
                  </a:cubicBezTo>
                  <a:cubicBezTo>
                    <a:pt x="10832" y="2245"/>
                    <a:pt x="10994" y="2398"/>
                    <a:pt x="11153" y="2551"/>
                  </a:cubicBezTo>
                  <a:cubicBezTo>
                    <a:pt x="11473" y="2857"/>
                    <a:pt x="11790" y="3160"/>
                    <a:pt x="12103" y="3460"/>
                  </a:cubicBezTo>
                  <a:cubicBezTo>
                    <a:pt x="12728" y="4059"/>
                    <a:pt x="13340" y="4645"/>
                    <a:pt x="13938" y="5217"/>
                  </a:cubicBezTo>
                  <a:cubicBezTo>
                    <a:pt x="14535" y="5789"/>
                    <a:pt x="15118" y="6349"/>
                    <a:pt x="15687" y="6895"/>
                  </a:cubicBezTo>
                  <a:cubicBezTo>
                    <a:pt x="15758" y="6962"/>
                    <a:pt x="15828" y="7031"/>
                    <a:pt x="15899" y="7099"/>
                  </a:cubicBezTo>
                  <a:cubicBezTo>
                    <a:pt x="16005" y="7200"/>
                    <a:pt x="16005" y="7200"/>
                    <a:pt x="16005" y="7200"/>
                  </a:cubicBezTo>
                  <a:cubicBezTo>
                    <a:pt x="16056" y="7250"/>
                    <a:pt x="16080" y="7275"/>
                    <a:pt x="16115" y="7310"/>
                  </a:cubicBezTo>
                  <a:cubicBezTo>
                    <a:pt x="16247" y="7444"/>
                    <a:pt x="16382" y="7573"/>
                    <a:pt x="16518" y="7699"/>
                  </a:cubicBezTo>
                  <a:cubicBezTo>
                    <a:pt x="16791" y="7950"/>
                    <a:pt x="17069" y="8187"/>
                    <a:pt x="17354" y="8408"/>
                  </a:cubicBezTo>
                  <a:cubicBezTo>
                    <a:pt x="18492" y="9297"/>
                    <a:pt x="19712" y="9948"/>
                    <a:pt x="20914" y="10403"/>
                  </a:cubicBezTo>
                  <a:cubicBezTo>
                    <a:pt x="22117" y="10855"/>
                    <a:pt x="23303" y="11115"/>
                    <a:pt x="24413" y="11240"/>
                  </a:cubicBezTo>
                  <a:cubicBezTo>
                    <a:pt x="25523" y="11365"/>
                    <a:pt x="26559" y="11363"/>
                    <a:pt x="27492" y="11284"/>
                  </a:cubicBezTo>
                  <a:cubicBezTo>
                    <a:pt x="29363" y="11127"/>
                    <a:pt x="30811" y="10669"/>
                    <a:pt x="31821" y="10275"/>
                  </a:cubicBezTo>
                  <a:cubicBezTo>
                    <a:pt x="32482" y="10020"/>
                    <a:pt x="32949" y="9799"/>
                    <a:pt x="33252" y="9663"/>
                  </a:cubicBezTo>
                  <a:cubicBezTo>
                    <a:pt x="33555" y="9526"/>
                    <a:pt x="33699" y="9474"/>
                    <a:pt x="33698" y="9519"/>
                  </a:cubicBezTo>
                  <a:cubicBezTo>
                    <a:pt x="33694" y="9562"/>
                    <a:pt x="33543" y="9703"/>
                    <a:pt x="33234" y="9920"/>
                  </a:cubicBezTo>
                  <a:cubicBezTo>
                    <a:pt x="32926" y="10137"/>
                    <a:pt x="32457" y="10434"/>
                    <a:pt x="31776" y="10761"/>
                  </a:cubicBezTo>
                  <a:cubicBezTo>
                    <a:pt x="31610" y="10855"/>
                    <a:pt x="31233" y="11043"/>
                    <a:pt x="30648" y="11259"/>
                  </a:cubicBezTo>
                  <a:cubicBezTo>
                    <a:pt x="30063" y="11475"/>
                    <a:pt x="29266" y="11719"/>
                    <a:pt x="28270" y="11894"/>
                  </a:cubicBezTo>
                  <a:cubicBezTo>
                    <a:pt x="27276" y="12069"/>
                    <a:pt x="26083" y="12171"/>
                    <a:pt x="24737" y="12098"/>
                  </a:cubicBezTo>
                  <a:cubicBezTo>
                    <a:pt x="23394" y="12022"/>
                    <a:pt x="21893" y="11762"/>
                    <a:pt x="20355" y="11189"/>
                  </a:cubicBezTo>
                  <a:cubicBezTo>
                    <a:pt x="18655" y="10556"/>
                    <a:pt x="17026" y="9579"/>
                    <a:pt x="15632" y="8284"/>
                  </a:cubicBezTo>
                  <a:cubicBezTo>
                    <a:pt x="15545" y="8203"/>
                    <a:pt x="15459" y="8121"/>
                    <a:pt x="15373" y="8037"/>
                  </a:cubicBezTo>
                  <a:cubicBezTo>
                    <a:pt x="15310" y="7975"/>
                    <a:pt x="15310" y="7975"/>
                    <a:pt x="15310" y="7975"/>
                  </a:cubicBezTo>
                  <a:cubicBezTo>
                    <a:pt x="15258" y="7928"/>
                    <a:pt x="15258" y="7928"/>
                    <a:pt x="15258" y="7928"/>
                  </a:cubicBezTo>
                  <a:cubicBezTo>
                    <a:pt x="15133" y="7811"/>
                    <a:pt x="15133" y="7811"/>
                    <a:pt x="15133" y="7811"/>
                  </a:cubicBezTo>
                  <a:cubicBezTo>
                    <a:pt x="14965" y="7655"/>
                    <a:pt x="14797" y="7498"/>
                    <a:pt x="14628" y="7341"/>
                  </a:cubicBezTo>
                  <a:cubicBezTo>
                    <a:pt x="14290" y="7026"/>
                    <a:pt x="13951" y="6711"/>
                    <a:pt x="13611" y="6393"/>
                  </a:cubicBezTo>
                  <a:cubicBezTo>
                    <a:pt x="12930" y="5760"/>
                    <a:pt x="12244" y="5120"/>
                    <a:pt x="11552" y="4476"/>
                  </a:cubicBezTo>
                  <a:cubicBezTo>
                    <a:pt x="11206" y="4153"/>
                    <a:pt x="10859" y="3829"/>
                    <a:pt x="10511" y="3505"/>
                  </a:cubicBezTo>
                  <a:cubicBezTo>
                    <a:pt x="10337" y="3343"/>
                    <a:pt x="10163" y="3179"/>
                    <a:pt x="9988" y="3016"/>
                  </a:cubicBezTo>
                  <a:cubicBezTo>
                    <a:pt x="9726" y="2773"/>
                    <a:pt x="9726" y="2773"/>
                    <a:pt x="9726" y="2773"/>
                  </a:cubicBezTo>
                  <a:cubicBezTo>
                    <a:pt x="9664" y="2716"/>
                    <a:pt x="9664" y="2716"/>
                    <a:pt x="9664" y="2716"/>
                  </a:cubicBezTo>
                  <a:cubicBezTo>
                    <a:pt x="9605" y="2664"/>
                    <a:pt x="9605" y="2664"/>
                    <a:pt x="9605" y="2664"/>
                  </a:cubicBezTo>
                  <a:cubicBezTo>
                    <a:pt x="9481" y="2558"/>
                    <a:pt x="9481" y="2558"/>
                    <a:pt x="9481" y="2558"/>
                  </a:cubicBezTo>
                  <a:cubicBezTo>
                    <a:pt x="8812" y="2003"/>
                    <a:pt x="8011" y="1596"/>
                    <a:pt x="7158" y="1391"/>
                  </a:cubicBezTo>
                  <a:cubicBezTo>
                    <a:pt x="6731" y="1288"/>
                    <a:pt x="6290" y="1232"/>
                    <a:pt x="5849" y="1231"/>
                  </a:cubicBezTo>
                  <a:cubicBezTo>
                    <a:pt x="5362" y="1232"/>
                    <a:pt x="4873" y="1234"/>
                    <a:pt x="4383" y="1236"/>
                  </a:cubicBezTo>
                  <a:cubicBezTo>
                    <a:pt x="3489" y="1238"/>
                    <a:pt x="2017" y="1245"/>
                    <a:pt x="1688" y="1245"/>
                  </a:cubicBezTo>
                  <a:cubicBezTo>
                    <a:pt x="1360" y="1245"/>
                    <a:pt x="1347" y="1468"/>
                    <a:pt x="1347" y="1590"/>
                  </a:cubicBezTo>
                  <a:cubicBezTo>
                    <a:pt x="1347" y="1712"/>
                    <a:pt x="1383" y="13232"/>
                    <a:pt x="1401" y="19072"/>
                  </a:cubicBezTo>
                  <a:cubicBezTo>
                    <a:pt x="1402" y="19441"/>
                    <a:pt x="1403" y="19813"/>
                    <a:pt x="1405" y="20182"/>
                  </a:cubicBezTo>
                  <a:cubicBezTo>
                    <a:pt x="1407" y="20736"/>
                    <a:pt x="1407" y="20736"/>
                    <a:pt x="1407" y="20736"/>
                  </a:cubicBezTo>
                  <a:cubicBezTo>
                    <a:pt x="1408" y="21014"/>
                    <a:pt x="1408" y="21014"/>
                    <a:pt x="1408" y="21014"/>
                  </a:cubicBezTo>
                  <a:cubicBezTo>
                    <a:pt x="1408" y="21153"/>
                    <a:pt x="1408" y="21153"/>
                    <a:pt x="1408" y="21153"/>
                  </a:cubicBezTo>
                  <a:cubicBezTo>
                    <a:pt x="1409" y="21189"/>
                    <a:pt x="1409" y="21219"/>
                    <a:pt x="1412" y="21255"/>
                  </a:cubicBezTo>
                  <a:cubicBezTo>
                    <a:pt x="1439" y="21791"/>
                    <a:pt x="1721" y="22330"/>
                    <a:pt x="2150" y="22770"/>
                  </a:cubicBezTo>
                  <a:cubicBezTo>
                    <a:pt x="2577" y="23210"/>
                    <a:pt x="3136" y="23556"/>
                    <a:pt x="3727" y="23767"/>
                  </a:cubicBezTo>
                  <a:cubicBezTo>
                    <a:pt x="4023" y="23872"/>
                    <a:pt x="4328" y="23944"/>
                    <a:pt x="4629" y="23973"/>
                  </a:cubicBezTo>
                  <a:cubicBezTo>
                    <a:pt x="4703" y="23980"/>
                    <a:pt x="4778" y="23985"/>
                    <a:pt x="4852" y="23987"/>
                  </a:cubicBezTo>
                  <a:cubicBezTo>
                    <a:pt x="4891" y="23987"/>
                    <a:pt x="4922" y="23987"/>
                    <a:pt x="4967" y="23987"/>
                  </a:cubicBezTo>
                  <a:cubicBezTo>
                    <a:pt x="5103" y="23987"/>
                    <a:pt x="5103" y="23987"/>
                    <a:pt x="5103" y="23987"/>
                  </a:cubicBezTo>
                  <a:cubicBezTo>
                    <a:pt x="5283" y="23987"/>
                    <a:pt x="5461" y="23983"/>
                    <a:pt x="5638" y="23980"/>
                  </a:cubicBezTo>
                  <a:cubicBezTo>
                    <a:pt x="5814" y="23976"/>
                    <a:pt x="5988" y="23969"/>
                    <a:pt x="6158" y="23960"/>
                  </a:cubicBezTo>
                  <a:cubicBezTo>
                    <a:pt x="6222" y="23954"/>
                    <a:pt x="6222" y="23954"/>
                    <a:pt x="6222" y="23954"/>
                  </a:cubicBezTo>
                  <a:cubicBezTo>
                    <a:pt x="6271" y="23951"/>
                    <a:pt x="6271" y="23951"/>
                    <a:pt x="6271" y="23951"/>
                  </a:cubicBezTo>
                  <a:cubicBezTo>
                    <a:pt x="6303" y="23947"/>
                    <a:pt x="6334" y="23944"/>
                    <a:pt x="6366" y="23938"/>
                  </a:cubicBezTo>
                  <a:cubicBezTo>
                    <a:pt x="6397" y="23933"/>
                    <a:pt x="6428" y="23928"/>
                    <a:pt x="6458" y="23917"/>
                  </a:cubicBezTo>
                  <a:cubicBezTo>
                    <a:pt x="6488" y="23904"/>
                    <a:pt x="6513" y="23881"/>
                    <a:pt x="6527" y="23854"/>
                  </a:cubicBezTo>
                  <a:cubicBezTo>
                    <a:pt x="6556" y="23794"/>
                    <a:pt x="6548" y="23727"/>
                    <a:pt x="6548" y="23664"/>
                  </a:cubicBezTo>
                  <a:cubicBezTo>
                    <a:pt x="6545" y="23002"/>
                    <a:pt x="6541" y="22344"/>
                    <a:pt x="6537" y="21686"/>
                  </a:cubicBezTo>
                  <a:cubicBezTo>
                    <a:pt x="6528" y="20247"/>
                    <a:pt x="6520" y="18819"/>
                    <a:pt x="6511" y="17404"/>
                  </a:cubicBezTo>
                  <a:cubicBezTo>
                    <a:pt x="6510" y="17218"/>
                    <a:pt x="6509" y="17034"/>
                    <a:pt x="6508" y="16849"/>
                  </a:cubicBezTo>
                  <a:cubicBezTo>
                    <a:pt x="6511" y="16629"/>
                    <a:pt x="6533" y="16407"/>
                    <a:pt x="6571" y="16189"/>
                  </a:cubicBezTo>
                  <a:cubicBezTo>
                    <a:pt x="6649" y="15752"/>
                    <a:pt x="6799" y="15325"/>
                    <a:pt x="7014" y="14932"/>
                  </a:cubicBezTo>
                  <a:cubicBezTo>
                    <a:pt x="7441" y="14148"/>
                    <a:pt x="8130" y="13500"/>
                    <a:pt x="8964" y="13129"/>
                  </a:cubicBezTo>
                  <a:cubicBezTo>
                    <a:pt x="9381" y="12943"/>
                    <a:pt x="9833" y="12826"/>
                    <a:pt x="10292" y="12792"/>
                  </a:cubicBezTo>
                  <a:cubicBezTo>
                    <a:pt x="10405" y="12783"/>
                    <a:pt x="10526" y="12779"/>
                    <a:pt x="10633" y="12779"/>
                  </a:cubicBezTo>
                  <a:cubicBezTo>
                    <a:pt x="10738" y="12781"/>
                    <a:pt x="10843" y="12783"/>
                    <a:pt x="10948" y="12788"/>
                  </a:cubicBezTo>
                  <a:cubicBezTo>
                    <a:pt x="11158" y="12799"/>
                    <a:pt x="11367" y="12821"/>
                    <a:pt x="11575" y="12851"/>
                  </a:cubicBezTo>
                  <a:cubicBezTo>
                    <a:pt x="12409" y="12972"/>
                    <a:pt x="13207" y="13255"/>
                    <a:pt x="13931" y="13628"/>
                  </a:cubicBezTo>
                  <a:cubicBezTo>
                    <a:pt x="14656" y="14002"/>
                    <a:pt x="15313" y="14460"/>
                    <a:pt x="15923" y="14945"/>
                  </a:cubicBezTo>
                  <a:cubicBezTo>
                    <a:pt x="16534" y="15431"/>
                    <a:pt x="17099" y="15949"/>
                    <a:pt x="17646" y="16461"/>
                  </a:cubicBezTo>
                  <a:cubicBezTo>
                    <a:pt x="17916" y="16715"/>
                    <a:pt x="18185" y="16969"/>
                    <a:pt x="18455" y="17222"/>
                  </a:cubicBezTo>
                  <a:cubicBezTo>
                    <a:pt x="18854" y="17591"/>
                    <a:pt x="18854" y="17591"/>
                    <a:pt x="18854" y="17591"/>
                  </a:cubicBezTo>
                  <a:cubicBezTo>
                    <a:pt x="18989" y="17714"/>
                    <a:pt x="19125" y="17837"/>
                    <a:pt x="19260" y="17958"/>
                  </a:cubicBezTo>
                  <a:cubicBezTo>
                    <a:pt x="19815" y="18455"/>
                    <a:pt x="20354" y="18956"/>
                    <a:pt x="20887" y="19441"/>
                  </a:cubicBezTo>
                  <a:cubicBezTo>
                    <a:pt x="21420" y="19926"/>
                    <a:pt x="21949" y="20397"/>
                    <a:pt x="22486" y="20819"/>
                  </a:cubicBezTo>
                  <a:cubicBezTo>
                    <a:pt x="23023" y="21239"/>
                    <a:pt x="23571" y="21614"/>
                    <a:pt x="24131" y="21883"/>
                  </a:cubicBezTo>
                  <a:cubicBezTo>
                    <a:pt x="24692" y="22151"/>
                    <a:pt x="25262" y="22308"/>
                    <a:pt x="25829" y="22317"/>
                  </a:cubicBezTo>
                  <a:cubicBezTo>
                    <a:pt x="26396" y="22330"/>
                    <a:pt x="26958" y="22198"/>
                    <a:pt x="27497" y="21966"/>
                  </a:cubicBezTo>
                  <a:cubicBezTo>
                    <a:pt x="28038" y="21733"/>
                    <a:pt x="28553" y="21409"/>
                    <a:pt x="29047" y="21052"/>
                  </a:cubicBezTo>
                  <a:cubicBezTo>
                    <a:pt x="29540" y="20695"/>
                    <a:pt x="30011" y="20303"/>
                    <a:pt x="30470" y="19910"/>
                  </a:cubicBezTo>
                  <a:cubicBezTo>
                    <a:pt x="30928" y="19515"/>
                    <a:pt x="31373" y="19117"/>
                    <a:pt x="31813" y="18727"/>
                  </a:cubicBezTo>
                  <a:cubicBezTo>
                    <a:pt x="32033" y="18535"/>
                    <a:pt x="32252" y="18343"/>
                    <a:pt x="32467" y="18154"/>
                  </a:cubicBezTo>
                  <a:cubicBezTo>
                    <a:pt x="32575" y="18060"/>
                    <a:pt x="32683" y="17968"/>
                    <a:pt x="32789" y="17876"/>
                  </a:cubicBezTo>
                  <a:cubicBezTo>
                    <a:pt x="32892" y="17784"/>
                    <a:pt x="32994" y="17696"/>
                    <a:pt x="33095" y="17606"/>
                  </a:cubicBezTo>
                  <a:cubicBezTo>
                    <a:pt x="34015" y="16784"/>
                    <a:pt x="34917" y="15904"/>
                    <a:pt x="35917" y="15125"/>
                  </a:cubicBezTo>
                  <a:cubicBezTo>
                    <a:pt x="36417" y="14735"/>
                    <a:pt x="36941" y="14371"/>
                    <a:pt x="37500" y="14056"/>
                  </a:cubicBezTo>
                  <a:cubicBezTo>
                    <a:pt x="38058" y="13742"/>
                    <a:pt x="38653" y="13479"/>
                    <a:pt x="39276" y="13302"/>
                  </a:cubicBezTo>
                  <a:cubicBezTo>
                    <a:pt x="39900" y="13123"/>
                    <a:pt x="40546" y="13035"/>
                    <a:pt x="41196" y="13049"/>
                  </a:cubicBezTo>
                  <a:cubicBezTo>
                    <a:pt x="41882" y="13066"/>
                    <a:pt x="42554" y="13279"/>
                    <a:pt x="43119" y="13639"/>
                  </a:cubicBezTo>
                  <a:cubicBezTo>
                    <a:pt x="43685" y="13998"/>
                    <a:pt x="44146" y="14501"/>
                    <a:pt x="44458" y="15078"/>
                  </a:cubicBezTo>
                  <a:cubicBezTo>
                    <a:pt x="44772" y="15655"/>
                    <a:pt x="44929" y="16315"/>
                    <a:pt x="44919" y="16953"/>
                  </a:cubicBezTo>
                  <a:cubicBezTo>
                    <a:pt x="44904" y="17929"/>
                    <a:pt x="44888" y="18839"/>
                    <a:pt x="44875" y="19688"/>
                  </a:cubicBezTo>
                  <a:cubicBezTo>
                    <a:pt x="44866" y="20109"/>
                    <a:pt x="44859" y="20512"/>
                    <a:pt x="44851" y="20902"/>
                  </a:cubicBezTo>
                  <a:cubicBezTo>
                    <a:pt x="44850" y="20997"/>
                    <a:pt x="44848" y="21093"/>
                    <a:pt x="44846" y="21185"/>
                  </a:cubicBezTo>
                  <a:cubicBezTo>
                    <a:pt x="44844" y="21264"/>
                    <a:pt x="44848" y="21344"/>
                    <a:pt x="44856" y="21421"/>
                  </a:cubicBezTo>
                  <a:cubicBezTo>
                    <a:pt x="44871" y="21578"/>
                    <a:pt x="44905" y="21730"/>
                    <a:pt x="44952" y="21876"/>
                  </a:cubicBezTo>
                  <a:cubicBezTo>
                    <a:pt x="45063" y="22240"/>
                    <a:pt x="45263" y="22575"/>
                    <a:pt x="45499" y="22864"/>
                  </a:cubicBezTo>
                  <a:cubicBezTo>
                    <a:pt x="45735" y="23152"/>
                    <a:pt x="46005" y="23397"/>
                    <a:pt x="46280" y="23599"/>
                  </a:cubicBezTo>
                  <a:cubicBezTo>
                    <a:pt x="46414" y="23718"/>
                    <a:pt x="46493" y="23794"/>
                    <a:pt x="46508" y="23834"/>
                  </a:cubicBezTo>
                  <a:cubicBezTo>
                    <a:pt x="46525" y="23872"/>
                    <a:pt x="46476" y="23875"/>
                    <a:pt x="46364" y="23837"/>
                  </a:cubicBezTo>
                  <a:close/>
                </a:path>
              </a:pathLst>
            </a:custGeom>
            <a:solidFill>
              <a:srgbClr val="2DBE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1"/>
            <p:cNvSpPr>
              <a:spLocks/>
            </p:cNvSpPr>
            <p:nvPr userDrawn="1"/>
          </p:nvSpPr>
          <p:spPr bwMode="auto">
            <a:xfrm>
              <a:off x="-83369150" y="20088225"/>
              <a:ext cx="138082338" cy="94243525"/>
            </a:xfrm>
            <a:custGeom>
              <a:avLst/>
              <a:gdLst>
                <a:gd name="T0" fmla="*/ 33157 w 36820"/>
                <a:gd name="T1" fmla="*/ 17610 h 25129"/>
                <a:gd name="T2" fmla="*/ 31301 w 36820"/>
                <a:gd name="T3" fmla="*/ 19236 h 25129"/>
                <a:gd name="T4" fmla="*/ 25100 w 36820"/>
                <a:gd name="T5" fmla="*/ 22390 h 25129"/>
                <a:gd name="T6" fmla="*/ 19131 w 36820"/>
                <a:gd name="T7" fmla="*/ 18160 h 25129"/>
                <a:gd name="T8" fmla="*/ 16791 w 36820"/>
                <a:gd name="T9" fmla="*/ 15971 h 25129"/>
                <a:gd name="T10" fmla="*/ 10465 w 36820"/>
                <a:gd name="T11" fmla="*/ 12817 h 25129"/>
                <a:gd name="T12" fmla="*/ 6482 w 36820"/>
                <a:gd name="T13" fmla="*/ 16811 h 25129"/>
                <a:gd name="T14" fmla="*/ 6497 w 36820"/>
                <a:gd name="T15" fmla="*/ 23614 h 25129"/>
                <a:gd name="T16" fmla="*/ 6308 w 36820"/>
                <a:gd name="T17" fmla="*/ 23899 h 25129"/>
                <a:gd name="T18" fmla="*/ 5806 w 36820"/>
                <a:gd name="T19" fmla="*/ 23944 h 25129"/>
                <a:gd name="T20" fmla="*/ 4640 w 36820"/>
                <a:gd name="T21" fmla="*/ 23962 h 25129"/>
                <a:gd name="T22" fmla="*/ 1800 w 36820"/>
                <a:gd name="T23" fmla="*/ 22601 h 25129"/>
                <a:gd name="T24" fmla="*/ 1131 w 36820"/>
                <a:gd name="T25" fmla="*/ 21000 h 25129"/>
                <a:gd name="T26" fmla="*/ 1125 w 36820"/>
                <a:gd name="T27" fmla="*/ 19849 h 25129"/>
                <a:gd name="T28" fmla="*/ 1067 w 36820"/>
                <a:gd name="T29" fmla="*/ 1406 h 25129"/>
                <a:gd name="T30" fmla="*/ 4890 w 36820"/>
                <a:gd name="T31" fmla="*/ 979 h 25129"/>
                <a:gd name="T32" fmla="*/ 6055 w 36820"/>
                <a:gd name="T33" fmla="*/ 990 h 25129"/>
                <a:gd name="T34" fmla="*/ 9525 w 36820"/>
                <a:gd name="T35" fmla="*/ 2439 h 25129"/>
                <a:gd name="T36" fmla="*/ 14951 w 36820"/>
                <a:gd name="T37" fmla="*/ 7491 h 25129"/>
                <a:gd name="T38" fmla="*/ 15349 w 36820"/>
                <a:gd name="T39" fmla="*/ 7866 h 25129"/>
                <a:gd name="T40" fmla="*/ 19828 w 36820"/>
                <a:gd name="T41" fmla="*/ 10768 h 25129"/>
                <a:gd name="T42" fmla="*/ 25667 w 36820"/>
                <a:gd name="T43" fmla="*/ 11755 h 25129"/>
                <a:gd name="T44" fmla="*/ 27175 w 36820"/>
                <a:gd name="T45" fmla="*/ 11422 h 25129"/>
                <a:gd name="T46" fmla="*/ 19925 w 36820"/>
                <a:gd name="T47" fmla="*/ 10078 h 25129"/>
                <a:gd name="T48" fmla="*/ 15813 w 36820"/>
                <a:gd name="T49" fmla="*/ 7218 h 25129"/>
                <a:gd name="T50" fmla="*/ 12067 w 36820"/>
                <a:gd name="T51" fmla="*/ 3623 h 25129"/>
                <a:gd name="T52" fmla="*/ 9771 w 36820"/>
                <a:gd name="T53" fmla="*/ 1472 h 25129"/>
                <a:gd name="T54" fmla="*/ 5986 w 36820"/>
                <a:gd name="T55" fmla="*/ 39 h 25129"/>
                <a:gd name="T56" fmla="*/ 5400 w 36820"/>
                <a:gd name="T57" fmla="*/ 27 h 25129"/>
                <a:gd name="T58" fmla="*/ 71 w 36820"/>
                <a:gd name="T59" fmla="*/ 993 h 25129"/>
                <a:gd name="T60" fmla="*/ 1 w 36820"/>
                <a:gd name="T61" fmla="*/ 20107 h 25129"/>
                <a:gd name="T62" fmla="*/ 32 w 36820"/>
                <a:gd name="T63" fmla="*/ 21470 h 25129"/>
                <a:gd name="T64" fmla="*/ 2779 w 36820"/>
                <a:gd name="T65" fmla="*/ 24682 h 25129"/>
                <a:gd name="T66" fmla="*/ 4684 w 36820"/>
                <a:gd name="T67" fmla="*/ 25127 h 25129"/>
                <a:gd name="T68" fmla="*/ 5826 w 36820"/>
                <a:gd name="T69" fmla="*/ 25114 h 25129"/>
                <a:gd name="T70" fmla="*/ 7084 w 36820"/>
                <a:gd name="T71" fmla="*/ 24932 h 25129"/>
                <a:gd name="T72" fmla="*/ 7660 w 36820"/>
                <a:gd name="T73" fmla="*/ 24067 h 25129"/>
                <a:gd name="T74" fmla="*/ 7660 w 36820"/>
                <a:gd name="T75" fmla="*/ 18425 h 25129"/>
                <a:gd name="T76" fmla="*/ 7731 w 36820"/>
                <a:gd name="T77" fmla="*/ 16128 h 25129"/>
                <a:gd name="T78" fmla="*/ 10204 w 36820"/>
                <a:gd name="T79" fmla="*/ 13959 h 25129"/>
                <a:gd name="T80" fmla="*/ 12766 w 36820"/>
                <a:gd name="T81" fmla="*/ 14442 h 25129"/>
                <a:gd name="T82" fmla="*/ 17826 w 36820"/>
                <a:gd name="T83" fmla="*/ 18324 h 25129"/>
                <a:gd name="T84" fmla="*/ 22447 w 36820"/>
                <a:gd name="T85" fmla="*/ 22172 h 25129"/>
                <a:gd name="T86" fmla="*/ 27714 w 36820"/>
                <a:gd name="T87" fmla="*/ 22778 h 25129"/>
                <a:gd name="T88" fmla="*/ 32962 w 36820"/>
                <a:gd name="T89" fmla="*/ 18513 h 25129"/>
                <a:gd name="T90" fmla="*/ 36667 w 36820"/>
                <a:gd name="T91" fmla="*/ 14875 h 25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820" h="25129">
                  <a:moveTo>
                    <a:pt x="36432" y="14878"/>
                  </a:moveTo>
                  <a:cubicBezTo>
                    <a:pt x="35876" y="15259"/>
                    <a:pt x="35364" y="15654"/>
                    <a:pt x="34673" y="16254"/>
                  </a:cubicBezTo>
                  <a:cubicBezTo>
                    <a:pt x="34238" y="16629"/>
                    <a:pt x="33725" y="17103"/>
                    <a:pt x="33157" y="17610"/>
                  </a:cubicBezTo>
                  <a:cubicBezTo>
                    <a:pt x="33015" y="17736"/>
                    <a:pt x="32870" y="17864"/>
                    <a:pt x="32718" y="17992"/>
                  </a:cubicBezTo>
                  <a:cubicBezTo>
                    <a:pt x="32567" y="18124"/>
                    <a:pt x="32412" y="18259"/>
                    <a:pt x="32255" y="18394"/>
                  </a:cubicBezTo>
                  <a:cubicBezTo>
                    <a:pt x="31943" y="18670"/>
                    <a:pt x="31624" y="18951"/>
                    <a:pt x="31301" y="19236"/>
                  </a:cubicBezTo>
                  <a:cubicBezTo>
                    <a:pt x="30558" y="19898"/>
                    <a:pt x="29815" y="20560"/>
                    <a:pt x="29025" y="21137"/>
                  </a:cubicBezTo>
                  <a:cubicBezTo>
                    <a:pt x="28236" y="21708"/>
                    <a:pt x="27385" y="22199"/>
                    <a:pt x="26478" y="22374"/>
                  </a:cubicBezTo>
                  <a:cubicBezTo>
                    <a:pt x="26026" y="22462"/>
                    <a:pt x="25560" y="22467"/>
                    <a:pt x="25100" y="22390"/>
                  </a:cubicBezTo>
                  <a:cubicBezTo>
                    <a:pt x="24641" y="22312"/>
                    <a:pt x="24189" y="22148"/>
                    <a:pt x="23756" y="21930"/>
                  </a:cubicBezTo>
                  <a:cubicBezTo>
                    <a:pt x="22888" y="21488"/>
                    <a:pt x="22097" y="20846"/>
                    <a:pt x="21355" y="20199"/>
                  </a:cubicBezTo>
                  <a:cubicBezTo>
                    <a:pt x="20634" y="19566"/>
                    <a:pt x="19905" y="18867"/>
                    <a:pt x="19131" y="18160"/>
                  </a:cubicBezTo>
                  <a:cubicBezTo>
                    <a:pt x="18939" y="17987"/>
                    <a:pt x="18746" y="17810"/>
                    <a:pt x="18551" y="17633"/>
                  </a:cubicBezTo>
                  <a:cubicBezTo>
                    <a:pt x="18361" y="17458"/>
                    <a:pt x="18170" y="17276"/>
                    <a:pt x="17977" y="17094"/>
                  </a:cubicBezTo>
                  <a:cubicBezTo>
                    <a:pt x="17592" y="16726"/>
                    <a:pt x="17200" y="16348"/>
                    <a:pt x="16791" y="15971"/>
                  </a:cubicBezTo>
                  <a:cubicBezTo>
                    <a:pt x="15972" y="15221"/>
                    <a:pt x="15086" y="14464"/>
                    <a:pt x="14038" y="13858"/>
                  </a:cubicBezTo>
                  <a:cubicBezTo>
                    <a:pt x="13515" y="13555"/>
                    <a:pt x="12950" y="13295"/>
                    <a:pt x="12348" y="13109"/>
                  </a:cubicBezTo>
                  <a:cubicBezTo>
                    <a:pt x="11746" y="12926"/>
                    <a:pt x="11108" y="12821"/>
                    <a:pt x="10465" y="12817"/>
                  </a:cubicBezTo>
                  <a:cubicBezTo>
                    <a:pt x="9777" y="12807"/>
                    <a:pt x="9074" y="12994"/>
                    <a:pt x="8475" y="13344"/>
                  </a:cubicBezTo>
                  <a:cubicBezTo>
                    <a:pt x="7873" y="13695"/>
                    <a:pt x="7368" y="14204"/>
                    <a:pt x="7019" y="14808"/>
                  </a:cubicBezTo>
                  <a:cubicBezTo>
                    <a:pt x="6668" y="15410"/>
                    <a:pt x="6479" y="16115"/>
                    <a:pt x="6482" y="16811"/>
                  </a:cubicBezTo>
                  <a:cubicBezTo>
                    <a:pt x="6482" y="17401"/>
                    <a:pt x="6482" y="17992"/>
                    <a:pt x="6482" y="18580"/>
                  </a:cubicBezTo>
                  <a:cubicBezTo>
                    <a:pt x="6485" y="19759"/>
                    <a:pt x="6487" y="20935"/>
                    <a:pt x="6489" y="22101"/>
                  </a:cubicBezTo>
                  <a:cubicBezTo>
                    <a:pt x="6492" y="22608"/>
                    <a:pt x="6495" y="23111"/>
                    <a:pt x="6497" y="23614"/>
                  </a:cubicBezTo>
                  <a:cubicBezTo>
                    <a:pt x="6498" y="23677"/>
                    <a:pt x="6498" y="23746"/>
                    <a:pt x="6467" y="23803"/>
                  </a:cubicBezTo>
                  <a:cubicBezTo>
                    <a:pt x="6451" y="23831"/>
                    <a:pt x="6427" y="23854"/>
                    <a:pt x="6399" y="23870"/>
                  </a:cubicBezTo>
                  <a:cubicBezTo>
                    <a:pt x="6371" y="23885"/>
                    <a:pt x="6339" y="23892"/>
                    <a:pt x="6308" y="23899"/>
                  </a:cubicBezTo>
                  <a:cubicBezTo>
                    <a:pt x="6246" y="23912"/>
                    <a:pt x="6182" y="23919"/>
                    <a:pt x="6118" y="23924"/>
                  </a:cubicBezTo>
                  <a:cubicBezTo>
                    <a:pt x="6010" y="23933"/>
                    <a:pt x="6010" y="23933"/>
                    <a:pt x="6010" y="23933"/>
                  </a:cubicBezTo>
                  <a:cubicBezTo>
                    <a:pt x="5806" y="23944"/>
                    <a:pt x="5806" y="23944"/>
                    <a:pt x="5806" y="23944"/>
                  </a:cubicBezTo>
                  <a:cubicBezTo>
                    <a:pt x="5547" y="23955"/>
                    <a:pt x="5283" y="23960"/>
                    <a:pt x="5016" y="23962"/>
                  </a:cubicBezTo>
                  <a:cubicBezTo>
                    <a:pt x="4815" y="23964"/>
                    <a:pt x="4815" y="23964"/>
                    <a:pt x="4815" y="23964"/>
                  </a:cubicBezTo>
                  <a:cubicBezTo>
                    <a:pt x="4750" y="23966"/>
                    <a:pt x="4699" y="23964"/>
                    <a:pt x="4640" y="23962"/>
                  </a:cubicBezTo>
                  <a:cubicBezTo>
                    <a:pt x="4525" y="23957"/>
                    <a:pt x="4409" y="23946"/>
                    <a:pt x="4294" y="23930"/>
                  </a:cubicBezTo>
                  <a:cubicBezTo>
                    <a:pt x="3831" y="23863"/>
                    <a:pt x="3365" y="23706"/>
                    <a:pt x="2937" y="23479"/>
                  </a:cubicBezTo>
                  <a:cubicBezTo>
                    <a:pt x="2508" y="23252"/>
                    <a:pt x="2114" y="22956"/>
                    <a:pt x="1800" y="22601"/>
                  </a:cubicBezTo>
                  <a:cubicBezTo>
                    <a:pt x="1487" y="22247"/>
                    <a:pt x="1257" y="21836"/>
                    <a:pt x="1172" y="21409"/>
                  </a:cubicBezTo>
                  <a:cubicBezTo>
                    <a:pt x="1150" y="21303"/>
                    <a:pt x="1136" y="21194"/>
                    <a:pt x="1133" y="21086"/>
                  </a:cubicBezTo>
                  <a:cubicBezTo>
                    <a:pt x="1131" y="21000"/>
                    <a:pt x="1131" y="21000"/>
                    <a:pt x="1131" y="21000"/>
                  </a:cubicBezTo>
                  <a:cubicBezTo>
                    <a:pt x="1130" y="20895"/>
                    <a:pt x="1130" y="20895"/>
                    <a:pt x="1130" y="20895"/>
                  </a:cubicBezTo>
                  <a:cubicBezTo>
                    <a:pt x="1130" y="20686"/>
                    <a:pt x="1130" y="20686"/>
                    <a:pt x="1130" y="20686"/>
                  </a:cubicBezTo>
                  <a:cubicBezTo>
                    <a:pt x="1128" y="20408"/>
                    <a:pt x="1127" y="20129"/>
                    <a:pt x="1125" y="19849"/>
                  </a:cubicBezTo>
                  <a:cubicBezTo>
                    <a:pt x="1123" y="19290"/>
                    <a:pt x="1120" y="18730"/>
                    <a:pt x="1118" y="18167"/>
                  </a:cubicBezTo>
                  <a:cubicBezTo>
                    <a:pt x="1114" y="17044"/>
                    <a:pt x="1109" y="15917"/>
                    <a:pt x="1105" y="14786"/>
                  </a:cubicBezTo>
                  <a:cubicBezTo>
                    <a:pt x="1092" y="10331"/>
                    <a:pt x="1067" y="1568"/>
                    <a:pt x="1067" y="1406"/>
                  </a:cubicBezTo>
                  <a:cubicBezTo>
                    <a:pt x="1067" y="1081"/>
                    <a:pt x="1164" y="988"/>
                    <a:pt x="1480" y="988"/>
                  </a:cubicBezTo>
                  <a:cubicBezTo>
                    <a:pt x="1933" y="988"/>
                    <a:pt x="2956" y="985"/>
                    <a:pt x="3689" y="982"/>
                  </a:cubicBezTo>
                  <a:cubicBezTo>
                    <a:pt x="4090" y="982"/>
                    <a:pt x="4490" y="980"/>
                    <a:pt x="4890" y="979"/>
                  </a:cubicBezTo>
                  <a:cubicBezTo>
                    <a:pt x="5089" y="978"/>
                    <a:pt x="5289" y="978"/>
                    <a:pt x="5488" y="977"/>
                  </a:cubicBezTo>
                  <a:cubicBezTo>
                    <a:pt x="5782" y="977"/>
                    <a:pt x="5782" y="977"/>
                    <a:pt x="5782" y="977"/>
                  </a:cubicBezTo>
                  <a:cubicBezTo>
                    <a:pt x="5868" y="980"/>
                    <a:pt x="5965" y="984"/>
                    <a:pt x="6055" y="990"/>
                  </a:cubicBezTo>
                  <a:cubicBezTo>
                    <a:pt x="6789" y="1041"/>
                    <a:pt x="7508" y="1231"/>
                    <a:pt x="8166" y="1545"/>
                  </a:cubicBezTo>
                  <a:cubicBezTo>
                    <a:pt x="8495" y="1700"/>
                    <a:pt x="8808" y="1887"/>
                    <a:pt x="9101" y="2101"/>
                  </a:cubicBezTo>
                  <a:cubicBezTo>
                    <a:pt x="9248" y="2207"/>
                    <a:pt x="9389" y="2321"/>
                    <a:pt x="9525" y="2439"/>
                  </a:cubicBezTo>
                  <a:cubicBezTo>
                    <a:pt x="9658" y="2556"/>
                    <a:pt x="9801" y="2695"/>
                    <a:pt x="9944" y="2827"/>
                  </a:cubicBezTo>
                  <a:cubicBezTo>
                    <a:pt x="11082" y="3888"/>
                    <a:pt x="12204" y="4934"/>
                    <a:pt x="13309" y="5963"/>
                  </a:cubicBezTo>
                  <a:cubicBezTo>
                    <a:pt x="13861" y="6478"/>
                    <a:pt x="14409" y="6987"/>
                    <a:pt x="14951" y="7491"/>
                  </a:cubicBezTo>
                  <a:cubicBezTo>
                    <a:pt x="15155" y="7680"/>
                    <a:pt x="15155" y="7680"/>
                    <a:pt x="15155" y="7680"/>
                  </a:cubicBezTo>
                  <a:cubicBezTo>
                    <a:pt x="15246" y="7767"/>
                    <a:pt x="15246" y="7767"/>
                    <a:pt x="15246" y="7767"/>
                  </a:cubicBezTo>
                  <a:cubicBezTo>
                    <a:pt x="15349" y="7866"/>
                    <a:pt x="15349" y="7866"/>
                    <a:pt x="15349" y="7866"/>
                  </a:cubicBezTo>
                  <a:cubicBezTo>
                    <a:pt x="15486" y="8000"/>
                    <a:pt x="15625" y="8128"/>
                    <a:pt x="15766" y="8254"/>
                  </a:cubicBezTo>
                  <a:cubicBezTo>
                    <a:pt x="16050" y="8505"/>
                    <a:pt x="16341" y="8744"/>
                    <a:pt x="16641" y="8970"/>
                  </a:cubicBezTo>
                  <a:cubicBezTo>
                    <a:pt x="17706" y="9776"/>
                    <a:pt x="18804" y="10356"/>
                    <a:pt x="19828" y="10768"/>
                  </a:cubicBezTo>
                  <a:cubicBezTo>
                    <a:pt x="20855" y="11180"/>
                    <a:pt x="21808" y="11423"/>
                    <a:pt x="22626" y="11568"/>
                  </a:cubicBezTo>
                  <a:cubicBezTo>
                    <a:pt x="23444" y="11713"/>
                    <a:pt x="24128" y="11763"/>
                    <a:pt x="24643" y="11779"/>
                  </a:cubicBezTo>
                  <a:cubicBezTo>
                    <a:pt x="25159" y="11792"/>
                    <a:pt x="25507" y="11773"/>
                    <a:pt x="25667" y="11755"/>
                  </a:cubicBezTo>
                  <a:cubicBezTo>
                    <a:pt x="26292" y="11727"/>
                    <a:pt x="26757" y="11664"/>
                    <a:pt x="27069" y="11608"/>
                  </a:cubicBezTo>
                  <a:cubicBezTo>
                    <a:pt x="27383" y="11552"/>
                    <a:pt x="27549" y="11499"/>
                    <a:pt x="27567" y="11469"/>
                  </a:cubicBezTo>
                  <a:cubicBezTo>
                    <a:pt x="27586" y="11436"/>
                    <a:pt x="27455" y="11424"/>
                    <a:pt x="27175" y="11422"/>
                  </a:cubicBezTo>
                  <a:cubicBezTo>
                    <a:pt x="26893" y="11416"/>
                    <a:pt x="26525" y="11420"/>
                    <a:pt x="25859" y="11398"/>
                  </a:cubicBezTo>
                  <a:cubicBezTo>
                    <a:pt x="25027" y="11367"/>
                    <a:pt x="23806" y="11287"/>
                    <a:pt x="22316" y="10912"/>
                  </a:cubicBezTo>
                  <a:cubicBezTo>
                    <a:pt x="21573" y="10721"/>
                    <a:pt x="20765" y="10457"/>
                    <a:pt x="19925" y="10078"/>
                  </a:cubicBezTo>
                  <a:cubicBezTo>
                    <a:pt x="19086" y="9698"/>
                    <a:pt x="18216" y="9206"/>
                    <a:pt x="17366" y="8573"/>
                  </a:cubicBezTo>
                  <a:cubicBezTo>
                    <a:pt x="16942" y="8256"/>
                    <a:pt x="16522" y="7904"/>
                    <a:pt x="16115" y="7516"/>
                  </a:cubicBezTo>
                  <a:cubicBezTo>
                    <a:pt x="16013" y="7420"/>
                    <a:pt x="15913" y="7320"/>
                    <a:pt x="15813" y="7218"/>
                  </a:cubicBezTo>
                  <a:cubicBezTo>
                    <a:pt x="15706" y="7114"/>
                    <a:pt x="15597" y="7010"/>
                    <a:pt x="15488" y="6905"/>
                  </a:cubicBezTo>
                  <a:cubicBezTo>
                    <a:pt x="15274" y="6699"/>
                    <a:pt x="15058" y="6490"/>
                    <a:pt x="14838" y="6279"/>
                  </a:cubicBezTo>
                  <a:cubicBezTo>
                    <a:pt x="13957" y="5435"/>
                    <a:pt x="13032" y="4548"/>
                    <a:pt x="12067" y="3623"/>
                  </a:cubicBezTo>
                  <a:cubicBezTo>
                    <a:pt x="11583" y="3160"/>
                    <a:pt x="11089" y="2687"/>
                    <a:pt x="10586" y="2205"/>
                  </a:cubicBezTo>
                  <a:cubicBezTo>
                    <a:pt x="10459" y="2085"/>
                    <a:pt x="10331" y="1963"/>
                    <a:pt x="10203" y="1841"/>
                  </a:cubicBezTo>
                  <a:cubicBezTo>
                    <a:pt x="10062" y="1710"/>
                    <a:pt x="9921" y="1590"/>
                    <a:pt x="9771" y="1472"/>
                  </a:cubicBezTo>
                  <a:cubicBezTo>
                    <a:pt x="9473" y="1239"/>
                    <a:pt x="9152" y="1028"/>
                    <a:pt x="8813" y="844"/>
                  </a:cubicBezTo>
                  <a:cubicBezTo>
                    <a:pt x="8134" y="476"/>
                    <a:pt x="7377" y="218"/>
                    <a:pt x="6586" y="101"/>
                  </a:cubicBezTo>
                  <a:cubicBezTo>
                    <a:pt x="6388" y="72"/>
                    <a:pt x="6188" y="52"/>
                    <a:pt x="5986" y="39"/>
                  </a:cubicBezTo>
                  <a:cubicBezTo>
                    <a:pt x="5834" y="32"/>
                    <a:pt x="5834" y="32"/>
                    <a:pt x="5834" y="32"/>
                  </a:cubicBezTo>
                  <a:cubicBezTo>
                    <a:pt x="5778" y="30"/>
                    <a:pt x="5731" y="29"/>
                    <a:pt x="5685" y="29"/>
                  </a:cubicBezTo>
                  <a:cubicBezTo>
                    <a:pt x="5590" y="28"/>
                    <a:pt x="5495" y="28"/>
                    <a:pt x="5400" y="27"/>
                  </a:cubicBezTo>
                  <a:cubicBezTo>
                    <a:pt x="5021" y="25"/>
                    <a:pt x="4638" y="22"/>
                    <a:pt x="4253" y="19"/>
                  </a:cubicBezTo>
                  <a:cubicBezTo>
                    <a:pt x="3214" y="13"/>
                    <a:pt x="1826" y="0"/>
                    <a:pt x="1071" y="0"/>
                  </a:cubicBezTo>
                  <a:cubicBezTo>
                    <a:pt x="316" y="0"/>
                    <a:pt x="71" y="462"/>
                    <a:pt x="71" y="993"/>
                  </a:cubicBezTo>
                  <a:cubicBezTo>
                    <a:pt x="71" y="1480"/>
                    <a:pt x="57" y="3521"/>
                    <a:pt x="51" y="4786"/>
                  </a:cubicBezTo>
                  <a:cubicBezTo>
                    <a:pt x="37" y="8137"/>
                    <a:pt x="23" y="11548"/>
                    <a:pt x="9" y="14968"/>
                  </a:cubicBezTo>
                  <a:cubicBezTo>
                    <a:pt x="7" y="16681"/>
                    <a:pt x="4" y="18396"/>
                    <a:pt x="1" y="20107"/>
                  </a:cubicBezTo>
                  <a:cubicBezTo>
                    <a:pt x="0" y="20749"/>
                    <a:pt x="0" y="20749"/>
                    <a:pt x="0" y="20749"/>
                  </a:cubicBezTo>
                  <a:cubicBezTo>
                    <a:pt x="2" y="21079"/>
                    <a:pt x="2" y="21079"/>
                    <a:pt x="2" y="21079"/>
                  </a:cubicBezTo>
                  <a:cubicBezTo>
                    <a:pt x="3" y="21211"/>
                    <a:pt x="14" y="21340"/>
                    <a:pt x="32" y="21470"/>
                  </a:cubicBezTo>
                  <a:cubicBezTo>
                    <a:pt x="107" y="21988"/>
                    <a:pt x="310" y="22469"/>
                    <a:pt x="582" y="22884"/>
                  </a:cubicBezTo>
                  <a:cubicBezTo>
                    <a:pt x="855" y="23299"/>
                    <a:pt x="1193" y="23650"/>
                    <a:pt x="1566" y="23950"/>
                  </a:cubicBezTo>
                  <a:cubicBezTo>
                    <a:pt x="1939" y="24247"/>
                    <a:pt x="2347" y="24492"/>
                    <a:pt x="2779" y="24682"/>
                  </a:cubicBezTo>
                  <a:cubicBezTo>
                    <a:pt x="3211" y="24873"/>
                    <a:pt x="3668" y="25010"/>
                    <a:pt x="4143" y="25080"/>
                  </a:cubicBezTo>
                  <a:cubicBezTo>
                    <a:pt x="4261" y="25098"/>
                    <a:pt x="4381" y="25111"/>
                    <a:pt x="4502" y="25118"/>
                  </a:cubicBezTo>
                  <a:cubicBezTo>
                    <a:pt x="4562" y="25123"/>
                    <a:pt x="4623" y="25125"/>
                    <a:pt x="4684" y="25127"/>
                  </a:cubicBezTo>
                  <a:cubicBezTo>
                    <a:pt x="4856" y="25129"/>
                    <a:pt x="4856" y="25129"/>
                    <a:pt x="4856" y="25129"/>
                  </a:cubicBezTo>
                  <a:cubicBezTo>
                    <a:pt x="5068" y="25129"/>
                    <a:pt x="5284" y="25127"/>
                    <a:pt x="5500" y="25123"/>
                  </a:cubicBezTo>
                  <a:cubicBezTo>
                    <a:pt x="5826" y="25114"/>
                    <a:pt x="5826" y="25114"/>
                    <a:pt x="5826" y="25114"/>
                  </a:cubicBezTo>
                  <a:cubicBezTo>
                    <a:pt x="5990" y="25107"/>
                    <a:pt x="5990" y="25107"/>
                    <a:pt x="5990" y="25107"/>
                  </a:cubicBezTo>
                  <a:cubicBezTo>
                    <a:pt x="6180" y="25096"/>
                    <a:pt x="6180" y="25096"/>
                    <a:pt x="6180" y="25096"/>
                  </a:cubicBezTo>
                  <a:cubicBezTo>
                    <a:pt x="6494" y="25075"/>
                    <a:pt x="6817" y="25044"/>
                    <a:pt x="7084" y="24932"/>
                  </a:cubicBezTo>
                  <a:cubicBezTo>
                    <a:pt x="7216" y="24876"/>
                    <a:pt x="7342" y="24793"/>
                    <a:pt x="7436" y="24676"/>
                  </a:cubicBezTo>
                  <a:cubicBezTo>
                    <a:pt x="7531" y="24561"/>
                    <a:pt x="7588" y="24426"/>
                    <a:pt x="7622" y="24285"/>
                  </a:cubicBezTo>
                  <a:cubicBezTo>
                    <a:pt x="7640" y="24215"/>
                    <a:pt x="7652" y="24142"/>
                    <a:pt x="7660" y="24067"/>
                  </a:cubicBezTo>
                  <a:cubicBezTo>
                    <a:pt x="7670" y="23993"/>
                    <a:pt x="7665" y="23912"/>
                    <a:pt x="7668" y="23834"/>
                  </a:cubicBezTo>
                  <a:cubicBezTo>
                    <a:pt x="7674" y="23387"/>
                    <a:pt x="7674" y="23387"/>
                    <a:pt x="7674" y="23387"/>
                  </a:cubicBezTo>
                  <a:cubicBezTo>
                    <a:pt x="7669" y="21716"/>
                    <a:pt x="7665" y="20060"/>
                    <a:pt x="7660" y="18425"/>
                  </a:cubicBezTo>
                  <a:cubicBezTo>
                    <a:pt x="7658" y="18017"/>
                    <a:pt x="7657" y="17610"/>
                    <a:pt x="7655" y="17204"/>
                  </a:cubicBezTo>
                  <a:cubicBezTo>
                    <a:pt x="7657" y="17006"/>
                    <a:pt x="7650" y="16786"/>
                    <a:pt x="7658" y="16629"/>
                  </a:cubicBezTo>
                  <a:cubicBezTo>
                    <a:pt x="7667" y="16461"/>
                    <a:pt x="7692" y="16292"/>
                    <a:pt x="7731" y="16128"/>
                  </a:cubicBezTo>
                  <a:cubicBezTo>
                    <a:pt x="7887" y="15470"/>
                    <a:pt x="8290" y="14876"/>
                    <a:pt x="8831" y="14482"/>
                  </a:cubicBezTo>
                  <a:cubicBezTo>
                    <a:pt x="9101" y="14285"/>
                    <a:pt x="9403" y="14137"/>
                    <a:pt x="9720" y="14049"/>
                  </a:cubicBezTo>
                  <a:cubicBezTo>
                    <a:pt x="9878" y="14006"/>
                    <a:pt x="10041" y="13973"/>
                    <a:pt x="10204" y="13959"/>
                  </a:cubicBezTo>
                  <a:cubicBezTo>
                    <a:pt x="10286" y="13951"/>
                    <a:pt x="10366" y="13948"/>
                    <a:pt x="10450" y="13948"/>
                  </a:cubicBezTo>
                  <a:cubicBezTo>
                    <a:pt x="10539" y="13946"/>
                    <a:pt x="10627" y="13950"/>
                    <a:pt x="10716" y="13953"/>
                  </a:cubicBezTo>
                  <a:cubicBezTo>
                    <a:pt x="11424" y="13984"/>
                    <a:pt x="12116" y="14162"/>
                    <a:pt x="12766" y="14442"/>
                  </a:cubicBezTo>
                  <a:cubicBezTo>
                    <a:pt x="13418" y="14721"/>
                    <a:pt x="14029" y="15100"/>
                    <a:pt x="14605" y="15522"/>
                  </a:cubicBezTo>
                  <a:cubicBezTo>
                    <a:pt x="15182" y="15946"/>
                    <a:pt x="15725" y="16411"/>
                    <a:pt x="16254" y="16889"/>
                  </a:cubicBezTo>
                  <a:cubicBezTo>
                    <a:pt x="16784" y="17365"/>
                    <a:pt x="17299" y="17853"/>
                    <a:pt x="17826" y="18324"/>
                  </a:cubicBezTo>
                  <a:cubicBezTo>
                    <a:pt x="18089" y="18555"/>
                    <a:pt x="18350" y="18784"/>
                    <a:pt x="18608" y="19011"/>
                  </a:cubicBezTo>
                  <a:cubicBezTo>
                    <a:pt x="18864" y="19238"/>
                    <a:pt x="19118" y="19463"/>
                    <a:pt x="19370" y="19687"/>
                  </a:cubicBezTo>
                  <a:cubicBezTo>
                    <a:pt x="20380" y="20583"/>
                    <a:pt x="21360" y="21468"/>
                    <a:pt x="22447" y="22172"/>
                  </a:cubicBezTo>
                  <a:cubicBezTo>
                    <a:pt x="22991" y="22520"/>
                    <a:pt x="23565" y="22819"/>
                    <a:pt x="24172" y="23012"/>
                  </a:cubicBezTo>
                  <a:cubicBezTo>
                    <a:pt x="24778" y="23207"/>
                    <a:pt x="25416" y="23286"/>
                    <a:pt x="26024" y="23232"/>
                  </a:cubicBezTo>
                  <a:cubicBezTo>
                    <a:pt x="26633" y="23183"/>
                    <a:pt x="27205" y="23008"/>
                    <a:pt x="27714" y="22778"/>
                  </a:cubicBezTo>
                  <a:cubicBezTo>
                    <a:pt x="28225" y="22545"/>
                    <a:pt x="28681" y="22258"/>
                    <a:pt x="29100" y="21961"/>
                  </a:cubicBezTo>
                  <a:cubicBezTo>
                    <a:pt x="29933" y="21360"/>
                    <a:pt x="30625" y="20720"/>
                    <a:pt x="31256" y="20132"/>
                  </a:cubicBezTo>
                  <a:cubicBezTo>
                    <a:pt x="31875" y="19545"/>
                    <a:pt x="32444" y="19006"/>
                    <a:pt x="32962" y="18513"/>
                  </a:cubicBezTo>
                  <a:cubicBezTo>
                    <a:pt x="33480" y="18034"/>
                    <a:pt x="33921" y="17585"/>
                    <a:pt x="34299" y="17202"/>
                  </a:cubicBezTo>
                  <a:cubicBezTo>
                    <a:pt x="34906" y="16593"/>
                    <a:pt x="35248" y="16240"/>
                    <a:pt x="35607" y="15888"/>
                  </a:cubicBezTo>
                  <a:cubicBezTo>
                    <a:pt x="36146" y="15365"/>
                    <a:pt x="36518" y="15039"/>
                    <a:pt x="36667" y="14875"/>
                  </a:cubicBezTo>
                  <a:cubicBezTo>
                    <a:pt x="36820" y="14712"/>
                    <a:pt x="36745" y="14705"/>
                    <a:pt x="36432" y="14878"/>
                  </a:cubicBezTo>
                  <a:close/>
                </a:path>
              </a:pathLst>
            </a:custGeom>
            <a:solidFill>
              <a:srgbClr val="5032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2"/>
            <p:cNvSpPr>
              <a:spLocks/>
            </p:cNvSpPr>
            <p:nvPr userDrawn="1"/>
          </p:nvSpPr>
          <p:spPr bwMode="auto">
            <a:xfrm>
              <a:off x="-82780187" y="20591463"/>
              <a:ext cx="78374875" cy="93070362"/>
            </a:xfrm>
            <a:custGeom>
              <a:avLst/>
              <a:gdLst>
                <a:gd name="T0" fmla="*/ 18503 w 20899"/>
                <a:gd name="T1" fmla="*/ 18446 h 24816"/>
                <a:gd name="T2" fmla="*/ 15976 w 20899"/>
                <a:gd name="T3" fmla="*/ 16248 h 24816"/>
                <a:gd name="T4" fmla="*/ 12171 w 20899"/>
                <a:gd name="T5" fmla="*/ 13872 h 24816"/>
                <a:gd name="T6" fmla="*/ 10285 w 20899"/>
                <a:gd name="T7" fmla="*/ 13576 h 24816"/>
                <a:gd name="T8" fmla="*/ 8479 w 20899"/>
                <a:gd name="T9" fmla="*/ 14214 h 24816"/>
                <a:gd name="T10" fmla="*/ 7287 w 20899"/>
                <a:gd name="T11" fmla="*/ 16594 h 24816"/>
                <a:gd name="T12" fmla="*/ 7321 w 20899"/>
                <a:gd name="T13" fmla="*/ 21479 h 24816"/>
                <a:gd name="T14" fmla="*/ 7331 w 20899"/>
                <a:gd name="T15" fmla="*/ 23294 h 24816"/>
                <a:gd name="T16" fmla="*/ 7327 w 20899"/>
                <a:gd name="T17" fmla="*/ 23725 h 24816"/>
                <a:gd name="T18" fmla="*/ 6843 w 20899"/>
                <a:gd name="T19" fmla="*/ 24634 h 24816"/>
                <a:gd name="T20" fmla="*/ 5998 w 20899"/>
                <a:gd name="T21" fmla="*/ 24782 h 24816"/>
                <a:gd name="T22" fmla="*/ 5305 w 20899"/>
                <a:gd name="T23" fmla="*/ 24811 h 24816"/>
                <a:gd name="T24" fmla="*/ 4633 w 20899"/>
                <a:gd name="T25" fmla="*/ 24816 h 24816"/>
                <a:gd name="T26" fmla="*/ 2519 w 20899"/>
                <a:gd name="T27" fmla="*/ 24311 h 24816"/>
                <a:gd name="T28" fmla="*/ 364 w 20899"/>
                <a:gd name="T29" fmla="*/ 22315 h 24816"/>
                <a:gd name="T30" fmla="*/ 12 w 20899"/>
                <a:gd name="T31" fmla="*/ 21057 h 24816"/>
                <a:gd name="T32" fmla="*/ 6 w 20899"/>
                <a:gd name="T33" fmla="*/ 20803 h 24816"/>
                <a:gd name="T34" fmla="*/ 4 w 20899"/>
                <a:gd name="T35" fmla="*/ 19416 h 24816"/>
                <a:gd name="T36" fmla="*/ 39 w 20899"/>
                <a:gd name="T37" fmla="*/ 2693 h 24816"/>
                <a:gd name="T38" fmla="*/ 969 w 20899"/>
                <a:gd name="T39" fmla="*/ 0 h 24816"/>
                <a:gd name="T40" fmla="*/ 4865 w 20899"/>
                <a:gd name="T41" fmla="*/ 22 h 24816"/>
                <a:gd name="T42" fmla="*/ 5488 w 20899"/>
                <a:gd name="T43" fmla="*/ 27 h 24816"/>
                <a:gd name="T44" fmla="*/ 5702 w 20899"/>
                <a:gd name="T45" fmla="*/ 30 h 24816"/>
                <a:gd name="T46" fmla="*/ 8881 w 20899"/>
                <a:gd name="T47" fmla="*/ 990 h 24816"/>
                <a:gd name="T48" fmla="*/ 10126 w 20899"/>
                <a:gd name="T49" fmla="*/ 1964 h 24816"/>
                <a:gd name="T50" fmla="*/ 14916 w 20899"/>
                <a:gd name="T51" fmla="*/ 6565 h 24816"/>
                <a:gd name="T52" fmla="*/ 15519 w 20899"/>
                <a:gd name="T53" fmla="*/ 7149 h 24816"/>
                <a:gd name="T54" fmla="*/ 17174 w 20899"/>
                <a:gd name="T55" fmla="*/ 8604 h 24816"/>
                <a:gd name="T56" fmla="*/ 20445 w 20899"/>
                <a:gd name="T57" fmla="*/ 10489 h 24816"/>
                <a:gd name="T58" fmla="*/ 20309 w 20899"/>
                <a:gd name="T59" fmla="*/ 10584 h 24816"/>
                <a:gd name="T60" fmla="*/ 18552 w 20899"/>
                <a:gd name="T61" fmla="*/ 9919 h 24816"/>
                <a:gd name="T62" fmla="*/ 15458 w 20899"/>
                <a:gd name="T63" fmla="*/ 7802 h 24816"/>
                <a:gd name="T64" fmla="*/ 15171 w 20899"/>
                <a:gd name="T65" fmla="*/ 7529 h 24816"/>
                <a:gd name="T66" fmla="*/ 15000 w 20899"/>
                <a:gd name="T67" fmla="*/ 7373 h 24816"/>
                <a:gd name="T68" fmla="*/ 13487 w 20899"/>
                <a:gd name="T69" fmla="*/ 5972 h 24816"/>
                <a:gd name="T70" fmla="*/ 9619 w 20899"/>
                <a:gd name="T71" fmla="*/ 2367 h 24816"/>
                <a:gd name="T72" fmla="*/ 6604 w 20899"/>
                <a:gd name="T73" fmla="*/ 823 h 24816"/>
                <a:gd name="T74" fmla="*/ 5295 w 20899"/>
                <a:gd name="T75" fmla="*/ 720 h 24816"/>
                <a:gd name="T76" fmla="*/ 1271 w 20899"/>
                <a:gd name="T77" fmla="*/ 729 h 24816"/>
                <a:gd name="T78" fmla="*/ 810 w 20899"/>
                <a:gd name="T79" fmla="*/ 10472 h 24816"/>
                <a:gd name="T80" fmla="*/ 869 w 20899"/>
                <a:gd name="T81" fmla="*/ 20931 h 24816"/>
                <a:gd name="T82" fmla="*/ 2799 w 20899"/>
                <a:gd name="T83" fmla="*/ 23486 h 24816"/>
                <a:gd name="T84" fmla="*/ 4472 w 20899"/>
                <a:gd name="T85" fmla="*/ 23956 h 24816"/>
                <a:gd name="T86" fmla="*/ 4774 w 20899"/>
                <a:gd name="T87" fmla="*/ 23960 h 24816"/>
                <a:gd name="T88" fmla="*/ 5730 w 20899"/>
                <a:gd name="T89" fmla="*/ 23945 h 24816"/>
                <a:gd name="T90" fmla="*/ 5979 w 20899"/>
                <a:gd name="T91" fmla="*/ 23933 h 24816"/>
                <a:gd name="T92" fmla="*/ 6349 w 20899"/>
                <a:gd name="T93" fmla="*/ 23873 h 24816"/>
                <a:gd name="T94" fmla="*/ 6495 w 20899"/>
                <a:gd name="T95" fmla="*/ 23550 h 24816"/>
                <a:gd name="T96" fmla="*/ 6526 w 20899"/>
                <a:gd name="T97" fmla="*/ 18358 h 24816"/>
                <a:gd name="T98" fmla="*/ 6538 w 20899"/>
                <a:gd name="T99" fmla="*/ 16843 h 24816"/>
                <a:gd name="T100" fmla="*/ 6544 w 20899"/>
                <a:gd name="T101" fmla="*/ 16529 h 24816"/>
                <a:gd name="T102" fmla="*/ 7957 w 20899"/>
                <a:gd name="T103" fmla="*/ 13747 h 24816"/>
                <a:gd name="T104" fmla="*/ 9723 w 20899"/>
                <a:gd name="T105" fmla="*/ 12968 h 24816"/>
                <a:gd name="T106" fmla="*/ 12823 w 20899"/>
                <a:gd name="T107" fmla="*/ 13479 h 24816"/>
                <a:gd name="T108" fmla="*/ 16704 w 20899"/>
                <a:gd name="T109" fmla="*/ 16252 h 24816"/>
                <a:gd name="T110" fmla="*/ 18726 w 20899"/>
                <a:gd name="T111" fmla="*/ 18165 h 24816"/>
                <a:gd name="T112" fmla="*/ 20529 w 20899"/>
                <a:gd name="T113" fmla="*/ 19887 h 24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899" h="24816">
                  <a:moveTo>
                    <a:pt x="19639" y="19376"/>
                  </a:moveTo>
                  <a:cubicBezTo>
                    <a:pt x="19326" y="19126"/>
                    <a:pt x="19023" y="18881"/>
                    <a:pt x="18503" y="18446"/>
                  </a:cubicBezTo>
                  <a:cubicBezTo>
                    <a:pt x="18164" y="18167"/>
                    <a:pt x="17774" y="17842"/>
                    <a:pt x="17357" y="17469"/>
                  </a:cubicBezTo>
                  <a:cubicBezTo>
                    <a:pt x="16937" y="17097"/>
                    <a:pt x="16481" y="16683"/>
                    <a:pt x="15976" y="16248"/>
                  </a:cubicBezTo>
                  <a:cubicBezTo>
                    <a:pt x="15471" y="15817"/>
                    <a:pt x="14916" y="15365"/>
                    <a:pt x="14288" y="14941"/>
                  </a:cubicBezTo>
                  <a:cubicBezTo>
                    <a:pt x="13662" y="14521"/>
                    <a:pt x="12959" y="14129"/>
                    <a:pt x="12171" y="13872"/>
                  </a:cubicBezTo>
                  <a:cubicBezTo>
                    <a:pt x="11777" y="13744"/>
                    <a:pt x="11364" y="13652"/>
                    <a:pt x="10936" y="13607"/>
                  </a:cubicBezTo>
                  <a:cubicBezTo>
                    <a:pt x="10722" y="13585"/>
                    <a:pt x="10504" y="13574"/>
                    <a:pt x="10285" y="13576"/>
                  </a:cubicBezTo>
                  <a:cubicBezTo>
                    <a:pt x="10074" y="13579"/>
                    <a:pt x="9862" y="13603"/>
                    <a:pt x="9653" y="13652"/>
                  </a:cubicBezTo>
                  <a:cubicBezTo>
                    <a:pt x="9235" y="13747"/>
                    <a:pt x="8830" y="13938"/>
                    <a:pt x="8479" y="14214"/>
                  </a:cubicBezTo>
                  <a:cubicBezTo>
                    <a:pt x="8128" y="14486"/>
                    <a:pt x="7829" y="14842"/>
                    <a:pt x="7621" y="15253"/>
                  </a:cubicBezTo>
                  <a:cubicBezTo>
                    <a:pt x="7411" y="15660"/>
                    <a:pt x="7293" y="16122"/>
                    <a:pt x="7287" y="16594"/>
                  </a:cubicBezTo>
                  <a:cubicBezTo>
                    <a:pt x="7291" y="17114"/>
                    <a:pt x="7295" y="17642"/>
                    <a:pt x="7299" y="18175"/>
                  </a:cubicBezTo>
                  <a:cubicBezTo>
                    <a:pt x="7306" y="19250"/>
                    <a:pt x="7313" y="20354"/>
                    <a:pt x="7321" y="21479"/>
                  </a:cubicBezTo>
                  <a:cubicBezTo>
                    <a:pt x="7324" y="22041"/>
                    <a:pt x="7327" y="22611"/>
                    <a:pt x="7330" y="23186"/>
                  </a:cubicBezTo>
                  <a:cubicBezTo>
                    <a:pt x="7331" y="23294"/>
                    <a:pt x="7331" y="23294"/>
                    <a:pt x="7331" y="23294"/>
                  </a:cubicBezTo>
                  <a:cubicBezTo>
                    <a:pt x="7330" y="23437"/>
                    <a:pt x="7330" y="23437"/>
                    <a:pt x="7330" y="23437"/>
                  </a:cubicBezTo>
                  <a:cubicBezTo>
                    <a:pt x="7327" y="23725"/>
                    <a:pt x="7327" y="23725"/>
                    <a:pt x="7327" y="23725"/>
                  </a:cubicBezTo>
                  <a:cubicBezTo>
                    <a:pt x="7327" y="23918"/>
                    <a:pt x="7306" y="24099"/>
                    <a:pt x="7234" y="24266"/>
                  </a:cubicBezTo>
                  <a:cubicBezTo>
                    <a:pt x="7164" y="24436"/>
                    <a:pt x="7012" y="24575"/>
                    <a:pt x="6843" y="24634"/>
                  </a:cubicBezTo>
                  <a:cubicBezTo>
                    <a:pt x="6675" y="24703"/>
                    <a:pt x="6485" y="24735"/>
                    <a:pt x="6291" y="24757"/>
                  </a:cubicBezTo>
                  <a:cubicBezTo>
                    <a:pt x="6194" y="24768"/>
                    <a:pt x="6096" y="24777"/>
                    <a:pt x="5998" y="24782"/>
                  </a:cubicBezTo>
                  <a:cubicBezTo>
                    <a:pt x="5756" y="24796"/>
                    <a:pt x="5756" y="24796"/>
                    <a:pt x="5756" y="24796"/>
                  </a:cubicBezTo>
                  <a:cubicBezTo>
                    <a:pt x="5605" y="24804"/>
                    <a:pt x="5455" y="24807"/>
                    <a:pt x="5305" y="24811"/>
                  </a:cubicBezTo>
                  <a:cubicBezTo>
                    <a:pt x="5156" y="24813"/>
                    <a:pt x="5006" y="24814"/>
                    <a:pt x="4856" y="24816"/>
                  </a:cubicBezTo>
                  <a:cubicBezTo>
                    <a:pt x="4633" y="24816"/>
                    <a:pt x="4633" y="24816"/>
                    <a:pt x="4633" y="24816"/>
                  </a:cubicBezTo>
                  <a:cubicBezTo>
                    <a:pt x="4551" y="24816"/>
                    <a:pt x="4469" y="24816"/>
                    <a:pt x="4388" y="24811"/>
                  </a:cubicBezTo>
                  <a:cubicBezTo>
                    <a:pt x="3734" y="24773"/>
                    <a:pt x="3103" y="24591"/>
                    <a:pt x="2519" y="24311"/>
                  </a:cubicBezTo>
                  <a:cubicBezTo>
                    <a:pt x="1935" y="24028"/>
                    <a:pt x="1393" y="23644"/>
                    <a:pt x="944" y="23148"/>
                  </a:cubicBezTo>
                  <a:cubicBezTo>
                    <a:pt x="721" y="22900"/>
                    <a:pt x="521" y="22622"/>
                    <a:pt x="364" y="22315"/>
                  </a:cubicBezTo>
                  <a:cubicBezTo>
                    <a:pt x="206" y="22009"/>
                    <a:pt x="91" y="21673"/>
                    <a:pt x="38" y="21322"/>
                  </a:cubicBezTo>
                  <a:cubicBezTo>
                    <a:pt x="26" y="21233"/>
                    <a:pt x="16" y="21145"/>
                    <a:pt x="12" y="21057"/>
                  </a:cubicBezTo>
                  <a:cubicBezTo>
                    <a:pt x="8" y="21012"/>
                    <a:pt x="7" y="20967"/>
                    <a:pt x="6" y="20923"/>
                  </a:cubicBezTo>
                  <a:cubicBezTo>
                    <a:pt x="6" y="20803"/>
                    <a:pt x="6" y="20803"/>
                    <a:pt x="6" y="20803"/>
                  </a:cubicBezTo>
                  <a:cubicBezTo>
                    <a:pt x="5" y="20341"/>
                    <a:pt x="5" y="20341"/>
                    <a:pt x="5" y="20341"/>
                  </a:cubicBezTo>
                  <a:cubicBezTo>
                    <a:pt x="5" y="20033"/>
                    <a:pt x="5" y="19724"/>
                    <a:pt x="4" y="19416"/>
                  </a:cubicBezTo>
                  <a:cubicBezTo>
                    <a:pt x="3" y="18796"/>
                    <a:pt x="3" y="18177"/>
                    <a:pt x="2" y="17555"/>
                  </a:cubicBezTo>
                  <a:cubicBezTo>
                    <a:pt x="0" y="12582"/>
                    <a:pt x="12" y="7527"/>
                    <a:pt x="39" y="2693"/>
                  </a:cubicBezTo>
                  <a:cubicBezTo>
                    <a:pt x="42" y="2101"/>
                    <a:pt x="47" y="1358"/>
                    <a:pt x="47" y="915"/>
                  </a:cubicBezTo>
                  <a:cubicBezTo>
                    <a:pt x="47" y="472"/>
                    <a:pt x="318" y="0"/>
                    <a:pt x="969" y="0"/>
                  </a:cubicBezTo>
                  <a:cubicBezTo>
                    <a:pt x="1621" y="0"/>
                    <a:pt x="3027" y="11"/>
                    <a:pt x="4025" y="17"/>
                  </a:cubicBezTo>
                  <a:cubicBezTo>
                    <a:pt x="4306" y="19"/>
                    <a:pt x="4587" y="20"/>
                    <a:pt x="4865" y="22"/>
                  </a:cubicBezTo>
                  <a:cubicBezTo>
                    <a:pt x="5004" y="23"/>
                    <a:pt x="5143" y="24"/>
                    <a:pt x="5281" y="25"/>
                  </a:cubicBezTo>
                  <a:cubicBezTo>
                    <a:pt x="5488" y="27"/>
                    <a:pt x="5488" y="27"/>
                    <a:pt x="5488" y="27"/>
                  </a:cubicBezTo>
                  <a:cubicBezTo>
                    <a:pt x="5592" y="28"/>
                    <a:pt x="5592" y="28"/>
                    <a:pt x="5592" y="28"/>
                  </a:cubicBezTo>
                  <a:cubicBezTo>
                    <a:pt x="5702" y="30"/>
                    <a:pt x="5702" y="30"/>
                    <a:pt x="5702" y="30"/>
                  </a:cubicBezTo>
                  <a:cubicBezTo>
                    <a:pt x="6278" y="55"/>
                    <a:pt x="6844" y="152"/>
                    <a:pt x="7379" y="317"/>
                  </a:cubicBezTo>
                  <a:cubicBezTo>
                    <a:pt x="7914" y="480"/>
                    <a:pt x="8419" y="709"/>
                    <a:pt x="8881" y="990"/>
                  </a:cubicBezTo>
                  <a:cubicBezTo>
                    <a:pt x="9112" y="1130"/>
                    <a:pt x="9332" y="1283"/>
                    <a:pt x="9540" y="1447"/>
                  </a:cubicBezTo>
                  <a:cubicBezTo>
                    <a:pt x="9748" y="1609"/>
                    <a:pt x="9948" y="1791"/>
                    <a:pt x="10126" y="1964"/>
                  </a:cubicBezTo>
                  <a:cubicBezTo>
                    <a:pt x="11557" y="3337"/>
                    <a:pt x="12879" y="4606"/>
                    <a:pt x="14062" y="5741"/>
                  </a:cubicBezTo>
                  <a:cubicBezTo>
                    <a:pt x="14355" y="6024"/>
                    <a:pt x="14640" y="6299"/>
                    <a:pt x="14916" y="6565"/>
                  </a:cubicBezTo>
                  <a:cubicBezTo>
                    <a:pt x="15053" y="6698"/>
                    <a:pt x="15188" y="6829"/>
                    <a:pt x="15321" y="6958"/>
                  </a:cubicBezTo>
                  <a:cubicBezTo>
                    <a:pt x="15388" y="7022"/>
                    <a:pt x="15453" y="7086"/>
                    <a:pt x="15519" y="7149"/>
                  </a:cubicBezTo>
                  <a:cubicBezTo>
                    <a:pt x="15583" y="7214"/>
                    <a:pt x="15647" y="7278"/>
                    <a:pt x="15710" y="7341"/>
                  </a:cubicBezTo>
                  <a:cubicBezTo>
                    <a:pt x="16207" y="7835"/>
                    <a:pt x="16703" y="8251"/>
                    <a:pt x="17174" y="8604"/>
                  </a:cubicBezTo>
                  <a:cubicBezTo>
                    <a:pt x="18115" y="9307"/>
                    <a:pt x="18945" y="9752"/>
                    <a:pt x="19526" y="10044"/>
                  </a:cubicBezTo>
                  <a:cubicBezTo>
                    <a:pt x="19988" y="10273"/>
                    <a:pt x="20247" y="10392"/>
                    <a:pt x="20445" y="10489"/>
                  </a:cubicBezTo>
                  <a:cubicBezTo>
                    <a:pt x="20641" y="10584"/>
                    <a:pt x="20728" y="10635"/>
                    <a:pt x="20704" y="10652"/>
                  </a:cubicBezTo>
                  <a:cubicBezTo>
                    <a:pt x="20681" y="10667"/>
                    <a:pt x="20549" y="10648"/>
                    <a:pt x="20309" y="10584"/>
                  </a:cubicBezTo>
                  <a:cubicBezTo>
                    <a:pt x="20068" y="10518"/>
                    <a:pt x="19727" y="10410"/>
                    <a:pt x="19276" y="10228"/>
                  </a:cubicBezTo>
                  <a:cubicBezTo>
                    <a:pt x="19159" y="10190"/>
                    <a:pt x="18909" y="10091"/>
                    <a:pt x="18552" y="9919"/>
                  </a:cubicBezTo>
                  <a:cubicBezTo>
                    <a:pt x="18195" y="9748"/>
                    <a:pt x="17732" y="9501"/>
                    <a:pt x="17201" y="9156"/>
                  </a:cubicBezTo>
                  <a:cubicBezTo>
                    <a:pt x="16670" y="8810"/>
                    <a:pt x="16071" y="8367"/>
                    <a:pt x="15458" y="7802"/>
                  </a:cubicBezTo>
                  <a:cubicBezTo>
                    <a:pt x="15381" y="7731"/>
                    <a:pt x="15305" y="7659"/>
                    <a:pt x="15228" y="7584"/>
                  </a:cubicBezTo>
                  <a:cubicBezTo>
                    <a:pt x="15171" y="7529"/>
                    <a:pt x="15171" y="7529"/>
                    <a:pt x="15171" y="7529"/>
                  </a:cubicBezTo>
                  <a:cubicBezTo>
                    <a:pt x="15118" y="7482"/>
                    <a:pt x="15118" y="7482"/>
                    <a:pt x="15118" y="7482"/>
                  </a:cubicBezTo>
                  <a:cubicBezTo>
                    <a:pt x="15079" y="7445"/>
                    <a:pt x="15040" y="7409"/>
                    <a:pt x="15000" y="7373"/>
                  </a:cubicBezTo>
                  <a:cubicBezTo>
                    <a:pt x="14843" y="7227"/>
                    <a:pt x="14681" y="7078"/>
                    <a:pt x="14516" y="6926"/>
                  </a:cubicBezTo>
                  <a:cubicBezTo>
                    <a:pt x="14186" y="6620"/>
                    <a:pt x="13843" y="6302"/>
                    <a:pt x="13487" y="5972"/>
                  </a:cubicBezTo>
                  <a:cubicBezTo>
                    <a:pt x="12646" y="5189"/>
                    <a:pt x="11791" y="4393"/>
                    <a:pt x="10925" y="3587"/>
                  </a:cubicBezTo>
                  <a:cubicBezTo>
                    <a:pt x="10493" y="3183"/>
                    <a:pt x="10057" y="2776"/>
                    <a:pt x="9619" y="2367"/>
                  </a:cubicBezTo>
                  <a:cubicBezTo>
                    <a:pt x="9203" y="1975"/>
                    <a:pt x="8737" y="1644"/>
                    <a:pt x="8228" y="1382"/>
                  </a:cubicBezTo>
                  <a:cubicBezTo>
                    <a:pt x="7719" y="1119"/>
                    <a:pt x="7171" y="930"/>
                    <a:pt x="6604" y="823"/>
                  </a:cubicBezTo>
                  <a:cubicBezTo>
                    <a:pt x="6320" y="770"/>
                    <a:pt x="6032" y="736"/>
                    <a:pt x="5743" y="723"/>
                  </a:cubicBezTo>
                  <a:cubicBezTo>
                    <a:pt x="5605" y="716"/>
                    <a:pt x="5448" y="720"/>
                    <a:pt x="5295" y="720"/>
                  </a:cubicBezTo>
                  <a:cubicBezTo>
                    <a:pt x="4833" y="721"/>
                    <a:pt x="4833" y="721"/>
                    <a:pt x="4833" y="721"/>
                  </a:cubicBezTo>
                  <a:cubicBezTo>
                    <a:pt x="3653" y="724"/>
                    <a:pt x="1519" y="729"/>
                    <a:pt x="1271" y="729"/>
                  </a:cubicBezTo>
                  <a:cubicBezTo>
                    <a:pt x="1024" y="729"/>
                    <a:pt x="784" y="724"/>
                    <a:pt x="784" y="1219"/>
                  </a:cubicBezTo>
                  <a:cubicBezTo>
                    <a:pt x="784" y="1715"/>
                    <a:pt x="801" y="7400"/>
                    <a:pt x="810" y="10472"/>
                  </a:cubicBezTo>
                  <a:cubicBezTo>
                    <a:pt x="827" y="13590"/>
                    <a:pt x="843" y="16677"/>
                    <a:pt x="859" y="19679"/>
                  </a:cubicBezTo>
                  <a:cubicBezTo>
                    <a:pt x="862" y="20094"/>
                    <a:pt x="865" y="20510"/>
                    <a:pt x="869" y="20931"/>
                  </a:cubicBezTo>
                  <a:cubicBezTo>
                    <a:pt x="876" y="21277"/>
                    <a:pt x="975" y="21621"/>
                    <a:pt x="1146" y="21942"/>
                  </a:cubicBezTo>
                  <a:cubicBezTo>
                    <a:pt x="1490" y="22589"/>
                    <a:pt x="2104" y="23129"/>
                    <a:pt x="2799" y="23486"/>
                  </a:cubicBezTo>
                  <a:cubicBezTo>
                    <a:pt x="3148" y="23664"/>
                    <a:pt x="3522" y="23799"/>
                    <a:pt x="3901" y="23879"/>
                  </a:cubicBezTo>
                  <a:cubicBezTo>
                    <a:pt x="4091" y="23920"/>
                    <a:pt x="4282" y="23945"/>
                    <a:pt x="4472" y="23956"/>
                  </a:cubicBezTo>
                  <a:cubicBezTo>
                    <a:pt x="4520" y="23958"/>
                    <a:pt x="4567" y="23960"/>
                    <a:pt x="4615" y="23960"/>
                  </a:cubicBezTo>
                  <a:cubicBezTo>
                    <a:pt x="4774" y="23960"/>
                    <a:pt x="4774" y="23960"/>
                    <a:pt x="4774" y="23960"/>
                  </a:cubicBezTo>
                  <a:cubicBezTo>
                    <a:pt x="5096" y="23960"/>
                    <a:pt x="5096" y="23960"/>
                    <a:pt x="5096" y="23960"/>
                  </a:cubicBezTo>
                  <a:cubicBezTo>
                    <a:pt x="5309" y="23958"/>
                    <a:pt x="5521" y="23954"/>
                    <a:pt x="5730" y="23945"/>
                  </a:cubicBezTo>
                  <a:cubicBezTo>
                    <a:pt x="5885" y="23938"/>
                    <a:pt x="5885" y="23938"/>
                    <a:pt x="5885" y="23938"/>
                  </a:cubicBezTo>
                  <a:cubicBezTo>
                    <a:pt x="5979" y="23933"/>
                    <a:pt x="5979" y="23933"/>
                    <a:pt x="5979" y="23933"/>
                  </a:cubicBezTo>
                  <a:cubicBezTo>
                    <a:pt x="6041" y="23927"/>
                    <a:pt x="6104" y="23924"/>
                    <a:pt x="6166" y="23915"/>
                  </a:cubicBezTo>
                  <a:cubicBezTo>
                    <a:pt x="6228" y="23906"/>
                    <a:pt x="6292" y="23897"/>
                    <a:pt x="6349" y="23873"/>
                  </a:cubicBezTo>
                  <a:cubicBezTo>
                    <a:pt x="6407" y="23846"/>
                    <a:pt x="6452" y="23796"/>
                    <a:pt x="6471" y="23736"/>
                  </a:cubicBezTo>
                  <a:cubicBezTo>
                    <a:pt x="6492" y="23677"/>
                    <a:pt x="6494" y="23614"/>
                    <a:pt x="6495" y="23550"/>
                  </a:cubicBezTo>
                  <a:cubicBezTo>
                    <a:pt x="6496" y="23363"/>
                    <a:pt x="6496" y="23363"/>
                    <a:pt x="6496" y="23363"/>
                  </a:cubicBezTo>
                  <a:cubicBezTo>
                    <a:pt x="6506" y="21661"/>
                    <a:pt x="6516" y="19980"/>
                    <a:pt x="6526" y="18358"/>
                  </a:cubicBezTo>
                  <a:cubicBezTo>
                    <a:pt x="6529" y="17948"/>
                    <a:pt x="6532" y="17543"/>
                    <a:pt x="6535" y="17142"/>
                  </a:cubicBezTo>
                  <a:cubicBezTo>
                    <a:pt x="6536" y="17041"/>
                    <a:pt x="6537" y="16942"/>
                    <a:pt x="6538" y="16843"/>
                  </a:cubicBezTo>
                  <a:cubicBezTo>
                    <a:pt x="6539" y="16693"/>
                    <a:pt x="6539" y="16693"/>
                    <a:pt x="6539" y="16693"/>
                  </a:cubicBezTo>
                  <a:cubicBezTo>
                    <a:pt x="6539" y="16645"/>
                    <a:pt x="6540" y="16583"/>
                    <a:pt x="6544" y="16529"/>
                  </a:cubicBezTo>
                  <a:cubicBezTo>
                    <a:pt x="6553" y="16308"/>
                    <a:pt x="6582" y="16088"/>
                    <a:pt x="6630" y="15873"/>
                  </a:cubicBezTo>
                  <a:cubicBezTo>
                    <a:pt x="6820" y="15011"/>
                    <a:pt x="7315" y="14259"/>
                    <a:pt x="7957" y="13747"/>
                  </a:cubicBezTo>
                  <a:cubicBezTo>
                    <a:pt x="8286" y="13480"/>
                    <a:pt x="8669" y="13266"/>
                    <a:pt x="9083" y="13125"/>
                  </a:cubicBezTo>
                  <a:cubicBezTo>
                    <a:pt x="9290" y="13055"/>
                    <a:pt x="9505" y="13002"/>
                    <a:pt x="9723" y="12968"/>
                  </a:cubicBezTo>
                  <a:cubicBezTo>
                    <a:pt x="9940" y="12936"/>
                    <a:pt x="10169" y="12927"/>
                    <a:pt x="10381" y="12932"/>
                  </a:cubicBezTo>
                  <a:cubicBezTo>
                    <a:pt x="11228" y="12950"/>
                    <a:pt x="12070" y="13154"/>
                    <a:pt x="12823" y="13479"/>
                  </a:cubicBezTo>
                  <a:cubicBezTo>
                    <a:pt x="13579" y="13801"/>
                    <a:pt x="14267" y="14236"/>
                    <a:pt x="14905" y="14714"/>
                  </a:cubicBezTo>
                  <a:cubicBezTo>
                    <a:pt x="15543" y="15193"/>
                    <a:pt x="16133" y="15720"/>
                    <a:pt x="16704" y="16252"/>
                  </a:cubicBezTo>
                  <a:cubicBezTo>
                    <a:pt x="17188" y="16713"/>
                    <a:pt x="17662" y="17168"/>
                    <a:pt x="18099" y="17586"/>
                  </a:cubicBezTo>
                  <a:cubicBezTo>
                    <a:pt x="18315" y="17790"/>
                    <a:pt x="18527" y="17981"/>
                    <a:pt x="18726" y="18165"/>
                  </a:cubicBezTo>
                  <a:cubicBezTo>
                    <a:pt x="18922" y="18349"/>
                    <a:pt x="19104" y="18520"/>
                    <a:pt x="19270" y="18677"/>
                  </a:cubicBezTo>
                  <a:cubicBezTo>
                    <a:pt x="19773" y="19160"/>
                    <a:pt x="20142" y="19515"/>
                    <a:pt x="20529" y="19887"/>
                  </a:cubicBezTo>
                  <a:cubicBezTo>
                    <a:pt x="20899" y="20301"/>
                    <a:pt x="20570" y="20123"/>
                    <a:pt x="19639" y="19376"/>
                  </a:cubicBezTo>
                  <a:close/>
                </a:path>
              </a:pathLst>
            </a:custGeom>
            <a:solidFill>
              <a:srgbClr val="FFC8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7168777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ynthetic | Pictur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5" name="Object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Rectangle 14"/>
          <p:cNvSpPr/>
          <p:nvPr userDrawn="1"/>
        </p:nvSpPr>
        <p:spPr bwMode="gray">
          <a:xfrm>
            <a:off x="1" y="0"/>
            <a:ext cx="12192000" cy="6858001"/>
          </a:xfrm>
          <a:prstGeom prst="rect">
            <a:avLst/>
          </a:prstGeom>
          <a:solidFill>
            <a:srgbClr val="2DBECD"/>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grpSp>
        <p:nvGrpSpPr>
          <p:cNvPr id="4" name="Gruppieren 3"/>
          <p:cNvGrpSpPr/>
          <p:nvPr userDrawn="1"/>
        </p:nvGrpSpPr>
        <p:grpSpPr bwMode="gray">
          <a:xfrm>
            <a:off x="1" y="1885410"/>
            <a:ext cx="1552255" cy="1502862"/>
            <a:chOff x="1" y="1885410"/>
            <a:chExt cx="1552255" cy="1502862"/>
          </a:xfrm>
        </p:grpSpPr>
        <p:sp>
          <p:nvSpPr>
            <p:cNvPr id="8" name="Rectangle 2"/>
            <p:cNvSpPr/>
            <p:nvPr userDrawn="1"/>
          </p:nvSpPr>
          <p:spPr bwMode="gray">
            <a:xfrm>
              <a:off x="1" y="1885410"/>
              <a:ext cx="1552255" cy="818268"/>
            </a:xfrm>
            <a:custGeom>
              <a:avLst/>
              <a:gdLst/>
              <a:ahLst/>
              <a:cxnLst/>
              <a:rect l="l" t="t" r="r" b="b"/>
              <a:pathLst>
                <a:path w="1552255" h="818268">
                  <a:moveTo>
                    <a:pt x="876974" y="0"/>
                  </a:moveTo>
                  <a:lnTo>
                    <a:pt x="891654" y="0"/>
                  </a:lnTo>
                  <a:lnTo>
                    <a:pt x="891959" y="0"/>
                  </a:lnTo>
                  <a:lnTo>
                    <a:pt x="992885" y="327"/>
                  </a:lnTo>
                  <a:lnTo>
                    <a:pt x="1100691" y="573"/>
                  </a:lnTo>
                  <a:cubicBezTo>
                    <a:pt x="1118277" y="573"/>
                    <a:pt x="1139838" y="12929"/>
                    <a:pt x="1148401" y="28230"/>
                  </a:cubicBezTo>
                  <a:lnTo>
                    <a:pt x="1260184" y="222241"/>
                  </a:lnTo>
                  <a:cubicBezTo>
                    <a:pt x="1268747" y="237460"/>
                    <a:pt x="1268747" y="262172"/>
                    <a:pt x="1259878" y="277473"/>
                  </a:cubicBezTo>
                  <a:lnTo>
                    <a:pt x="1184795" y="406759"/>
                  </a:lnTo>
                  <a:cubicBezTo>
                    <a:pt x="1179443" y="416169"/>
                    <a:pt x="1173938" y="425579"/>
                    <a:pt x="1168586" y="434989"/>
                  </a:cubicBezTo>
                  <a:cubicBezTo>
                    <a:pt x="1166445" y="438753"/>
                    <a:pt x="1164305" y="442435"/>
                    <a:pt x="1162164" y="446200"/>
                  </a:cubicBezTo>
                  <a:cubicBezTo>
                    <a:pt x="1153295" y="461419"/>
                    <a:pt x="1160329" y="473775"/>
                    <a:pt x="1177761" y="473775"/>
                  </a:cubicBezTo>
                  <a:lnTo>
                    <a:pt x="1439402" y="474675"/>
                  </a:lnTo>
                  <a:cubicBezTo>
                    <a:pt x="1456682" y="474675"/>
                    <a:pt x="1478243" y="487276"/>
                    <a:pt x="1487112" y="502578"/>
                  </a:cubicBezTo>
                  <a:lnTo>
                    <a:pt x="1552255" y="616398"/>
                  </a:lnTo>
                  <a:cubicBezTo>
                    <a:pt x="1561124" y="631618"/>
                    <a:pt x="1561124" y="656330"/>
                    <a:pt x="1552255" y="671631"/>
                  </a:cubicBezTo>
                  <a:lnTo>
                    <a:pt x="1486042" y="785124"/>
                  </a:lnTo>
                  <a:cubicBezTo>
                    <a:pt x="1477632" y="800344"/>
                    <a:pt x="1455917" y="812700"/>
                    <a:pt x="1438485" y="812700"/>
                  </a:cubicBezTo>
                  <a:lnTo>
                    <a:pt x="1307129" y="812127"/>
                  </a:lnTo>
                  <a:cubicBezTo>
                    <a:pt x="1289544" y="812127"/>
                    <a:pt x="1267982" y="799771"/>
                    <a:pt x="1259419" y="784470"/>
                  </a:cubicBezTo>
                  <a:lnTo>
                    <a:pt x="1193971" y="670731"/>
                  </a:lnTo>
                  <a:cubicBezTo>
                    <a:pt x="1185407" y="655430"/>
                    <a:pt x="1185407" y="630800"/>
                    <a:pt x="1194276" y="615498"/>
                  </a:cubicBezTo>
                  <a:lnTo>
                    <a:pt x="1245656" y="526717"/>
                  </a:lnTo>
                  <a:cubicBezTo>
                    <a:pt x="1254526" y="511497"/>
                    <a:pt x="1247491" y="499059"/>
                    <a:pt x="1229753" y="499059"/>
                  </a:cubicBezTo>
                  <a:lnTo>
                    <a:pt x="986615" y="498159"/>
                  </a:lnTo>
                  <a:lnTo>
                    <a:pt x="890736" y="498159"/>
                  </a:lnTo>
                  <a:cubicBezTo>
                    <a:pt x="890430" y="498159"/>
                    <a:pt x="889971" y="497914"/>
                    <a:pt x="889666" y="497914"/>
                  </a:cubicBezTo>
                  <a:lnTo>
                    <a:pt x="875903" y="497914"/>
                  </a:lnTo>
                  <a:cubicBezTo>
                    <a:pt x="858318" y="497914"/>
                    <a:pt x="836756" y="485231"/>
                    <a:pt x="828193" y="470256"/>
                  </a:cubicBezTo>
                  <a:lnTo>
                    <a:pt x="821312" y="458473"/>
                  </a:lnTo>
                  <a:lnTo>
                    <a:pt x="744700" y="325096"/>
                  </a:lnTo>
                  <a:cubicBezTo>
                    <a:pt x="731702" y="302676"/>
                    <a:pt x="710600" y="302676"/>
                    <a:pt x="697602" y="325096"/>
                  </a:cubicBezTo>
                  <a:lnTo>
                    <a:pt x="434279" y="777760"/>
                  </a:lnTo>
                  <a:cubicBezTo>
                    <a:pt x="421128" y="800344"/>
                    <a:pt x="389321" y="818591"/>
                    <a:pt x="363325" y="818264"/>
                  </a:cubicBezTo>
                  <a:lnTo>
                    <a:pt x="0" y="818035"/>
                  </a:lnTo>
                  <a:lnTo>
                    <a:pt x="0" y="86319"/>
                  </a:lnTo>
                  <a:lnTo>
                    <a:pt x="17274" y="81417"/>
                  </a:lnTo>
                  <a:cubicBezTo>
                    <a:pt x="65443" y="78717"/>
                    <a:pt x="234569" y="81581"/>
                    <a:pt x="343140" y="81663"/>
                  </a:cubicBezTo>
                  <a:lnTo>
                    <a:pt x="365160" y="81663"/>
                  </a:lnTo>
                  <a:cubicBezTo>
                    <a:pt x="391003" y="81990"/>
                    <a:pt x="422810" y="100156"/>
                    <a:pt x="435655" y="122903"/>
                  </a:cubicBezTo>
                  <a:lnTo>
                    <a:pt x="579856" y="373047"/>
                  </a:lnTo>
                  <a:cubicBezTo>
                    <a:pt x="592395" y="395303"/>
                    <a:pt x="613650" y="395303"/>
                    <a:pt x="626801" y="373047"/>
                  </a:cubicBezTo>
                  <a:lnTo>
                    <a:pt x="810608" y="59324"/>
                  </a:lnTo>
                  <a:lnTo>
                    <a:pt x="829111" y="27330"/>
                  </a:lnTo>
                  <a:cubicBezTo>
                    <a:pt x="837827" y="12356"/>
                    <a:pt x="859388" y="0"/>
                    <a:pt x="876974" y="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Freeform 37"/>
            <p:cNvSpPr>
              <a:spLocks/>
            </p:cNvSpPr>
            <p:nvPr userDrawn="1"/>
          </p:nvSpPr>
          <p:spPr bwMode="gray">
            <a:xfrm>
              <a:off x="495022" y="2449806"/>
              <a:ext cx="853273" cy="938466"/>
            </a:xfrm>
            <a:custGeom>
              <a:avLst/>
              <a:gdLst>
                <a:gd name="T0" fmla="*/ 2900 w 2953"/>
                <a:gd name="T1" fmla="*/ 2800 h 2900"/>
                <a:gd name="T2" fmla="*/ 2620 w 2953"/>
                <a:gd name="T3" fmla="*/ 2639 h 2900"/>
                <a:gd name="T4" fmla="*/ 1478 w 2953"/>
                <a:gd name="T5" fmla="*/ 2637 h 2900"/>
                <a:gd name="T6" fmla="*/ 1385 w 2953"/>
                <a:gd name="T7" fmla="*/ 2476 h 2900"/>
                <a:gd name="T8" fmla="*/ 2148 w 2953"/>
                <a:gd name="T9" fmla="*/ 1150 h 2900"/>
                <a:gd name="T10" fmla="*/ 2148 w 2953"/>
                <a:gd name="T11" fmla="*/ 828 h 2900"/>
                <a:gd name="T12" fmla="*/ 1764 w 2953"/>
                <a:gd name="T13" fmla="*/ 162 h 2900"/>
                <a:gd name="T14" fmla="*/ 1485 w 2953"/>
                <a:gd name="T15" fmla="*/ 0 h 2900"/>
                <a:gd name="T16" fmla="*/ 715 w 2953"/>
                <a:gd name="T17" fmla="*/ 0 h 2900"/>
                <a:gd name="T18" fmla="*/ 436 w 2953"/>
                <a:gd name="T19" fmla="*/ 161 h 2900"/>
                <a:gd name="T20" fmla="*/ 51 w 2953"/>
                <a:gd name="T21" fmla="*/ 827 h 2900"/>
                <a:gd name="T22" fmla="*/ 51 w 2953"/>
                <a:gd name="T23" fmla="*/ 1150 h 2900"/>
                <a:gd name="T24" fmla="*/ 436 w 2953"/>
                <a:gd name="T25" fmla="*/ 1816 h 2900"/>
                <a:gd name="T26" fmla="*/ 715 w 2953"/>
                <a:gd name="T27" fmla="*/ 1977 h 2900"/>
                <a:gd name="T28" fmla="*/ 1317 w 2953"/>
                <a:gd name="T29" fmla="*/ 1977 h 2900"/>
                <a:gd name="T30" fmla="*/ 1410 w 2953"/>
                <a:gd name="T31" fmla="*/ 2139 h 2900"/>
                <a:gd name="T32" fmla="*/ 972 w 2953"/>
                <a:gd name="T33" fmla="*/ 2900 h 2900"/>
                <a:gd name="T34" fmla="*/ 2953 w 2953"/>
                <a:gd name="T35" fmla="*/ 2893 h 2900"/>
                <a:gd name="T36" fmla="*/ 2900 w 2953"/>
                <a:gd name="T37" fmla="*/ 2800 h 2900"/>
                <a:gd name="connsiteX0" fmla="*/ 9648 w 9827"/>
                <a:gd name="connsiteY0" fmla="*/ 9655 h 11005"/>
                <a:gd name="connsiteX1" fmla="*/ 8699 w 9827"/>
                <a:gd name="connsiteY1" fmla="*/ 9100 h 11005"/>
                <a:gd name="connsiteX2" fmla="*/ 4832 w 9827"/>
                <a:gd name="connsiteY2" fmla="*/ 9093 h 11005"/>
                <a:gd name="connsiteX3" fmla="*/ 4517 w 9827"/>
                <a:gd name="connsiteY3" fmla="*/ 8538 h 11005"/>
                <a:gd name="connsiteX4" fmla="*/ 7101 w 9827"/>
                <a:gd name="connsiteY4" fmla="*/ 3966 h 11005"/>
                <a:gd name="connsiteX5" fmla="*/ 7101 w 9827"/>
                <a:gd name="connsiteY5" fmla="*/ 2855 h 11005"/>
                <a:gd name="connsiteX6" fmla="*/ 5801 w 9827"/>
                <a:gd name="connsiteY6" fmla="*/ 559 h 11005"/>
                <a:gd name="connsiteX7" fmla="*/ 4856 w 9827"/>
                <a:gd name="connsiteY7" fmla="*/ 0 h 11005"/>
                <a:gd name="connsiteX8" fmla="*/ 2248 w 9827"/>
                <a:gd name="connsiteY8" fmla="*/ 0 h 11005"/>
                <a:gd name="connsiteX9" fmla="*/ 1303 w 9827"/>
                <a:gd name="connsiteY9" fmla="*/ 555 h 11005"/>
                <a:gd name="connsiteX10" fmla="*/ 0 w 9827"/>
                <a:gd name="connsiteY10" fmla="*/ 2852 h 11005"/>
                <a:gd name="connsiteX11" fmla="*/ 0 w 9827"/>
                <a:gd name="connsiteY11" fmla="*/ 3966 h 11005"/>
                <a:gd name="connsiteX12" fmla="*/ 1303 w 9827"/>
                <a:gd name="connsiteY12" fmla="*/ 6262 h 11005"/>
                <a:gd name="connsiteX13" fmla="*/ 2248 w 9827"/>
                <a:gd name="connsiteY13" fmla="*/ 6817 h 11005"/>
                <a:gd name="connsiteX14" fmla="*/ 4287 w 9827"/>
                <a:gd name="connsiteY14" fmla="*/ 6817 h 11005"/>
                <a:gd name="connsiteX15" fmla="*/ 4602 w 9827"/>
                <a:gd name="connsiteY15" fmla="*/ 7376 h 11005"/>
                <a:gd name="connsiteX16" fmla="*/ 2497 w 9827"/>
                <a:gd name="connsiteY16" fmla="*/ 11005 h 11005"/>
                <a:gd name="connsiteX17" fmla="*/ 9827 w 9827"/>
                <a:gd name="connsiteY17" fmla="*/ 9976 h 11005"/>
                <a:gd name="connsiteX18" fmla="*/ 9648 w 9827"/>
                <a:gd name="connsiteY18" fmla="*/ 9655 h 11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827" h="11005">
                  <a:moveTo>
                    <a:pt x="9648" y="9655"/>
                  </a:moveTo>
                  <a:cubicBezTo>
                    <a:pt x="9471" y="9348"/>
                    <a:pt x="9048" y="9100"/>
                    <a:pt x="8699" y="9100"/>
                  </a:cubicBezTo>
                  <a:lnTo>
                    <a:pt x="4832" y="9093"/>
                  </a:lnTo>
                  <a:cubicBezTo>
                    <a:pt x="4487" y="9093"/>
                    <a:pt x="4344" y="8845"/>
                    <a:pt x="4517" y="8538"/>
                  </a:cubicBezTo>
                  <a:lnTo>
                    <a:pt x="7101" y="3966"/>
                  </a:lnTo>
                  <a:cubicBezTo>
                    <a:pt x="7277" y="3662"/>
                    <a:pt x="7277" y="3159"/>
                    <a:pt x="7101" y="2855"/>
                  </a:cubicBezTo>
                  <a:lnTo>
                    <a:pt x="5801" y="559"/>
                  </a:lnTo>
                  <a:cubicBezTo>
                    <a:pt x="5628" y="252"/>
                    <a:pt x="5201" y="0"/>
                    <a:pt x="4856" y="0"/>
                  </a:cubicBezTo>
                  <a:lnTo>
                    <a:pt x="2248" y="0"/>
                  </a:lnTo>
                  <a:cubicBezTo>
                    <a:pt x="1903" y="0"/>
                    <a:pt x="1476" y="252"/>
                    <a:pt x="1303" y="555"/>
                  </a:cubicBezTo>
                  <a:lnTo>
                    <a:pt x="0" y="2852"/>
                  </a:lnTo>
                  <a:cubicBezTo>
                    <a:pt x="-173" y="3159"/>
                    <a:pt x="-173" y="3659"/>
                    <a:pt x="0" y="3966"/>
                  </a:cubicBezTo>
                  <a:lnTo>
                    <a:pt x="1303" y="6262"/>
                  </a:lnTo>
                  <a:cubicBezTo>
                    <a:pt x="1476" y="6569"/>
                    <a:pt x="1903" y="6817"/>
                    <a:pt x="2248" y="6817"/>
                  </a:cubicBezTo>
                  <a:lnTo>
                    <a:pt x="4287" y="6817"/>
                  </a:lnTo>
                  <a:cubicBezTo>
                    <a:pt x="4632" y="6817"/>
                    <a:pt x="4900" y="6678"/>
                    <a:pt x="4602" y="7376"/>
                  </a:cubicBezTo>
                  <a:cubicBezTo>
                    <a:pt x="4304" y="8074"/>
                    <a:pt x="2497" y="11005"/>
                    <a:pt x="2497" y="11005"/>
                  </a:cubicBezTo>
                  <a:cubicBezTo>
                    <a:pt x="9205" y="10981"/>
                    <a:pt x="9827" y="9976"/>
                    <a:pt x="9827" y="9976"/>
                  </a:cubicBezTo>
                  <a:lnTo>
                    <a:pt x="9648" y="965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6" name="Rectangle 2"/>
          <p:cNvSpPr/>
          <p:nvPr userDrawn="1"/>
        </p:nvSpPr>
        <p:spPr bwMode="gray">
          <a:xfrm>
            <a:off x="-1" y="0"/>
            <a:ext cx="12192000" cy="6858001"/>
          </a:xfrm>
          <a:custGeom>
            <a:avLst/>
            <a:gdLst/>
            <a:ahLst/>
            <a:cxnLst/>
            <a:rect l="l" t="t" r="r" b="b"/>
            <a:pathLst>
              <a:path w="12192000" h="6858001">
                <a:moveTo>
                  <a:pt x="4055910" y="2"/>
                </a:moveTo>
                <a:lnTo>
                  <a:pt x="4064211" y="14593"/>
                </a:lnTo>
                <a:cubicBezTo>
                  <a:pt x="4071842" y="28004"/>
                  <a:pt x="4080562" y="43331"/>
                  <a:pt x="4090528" y="60848"/>
                </a:cubicBezTo>
                <a:lnTo>
                  <a:pt x="4111980" y="98552"/>
                </a:lnTo>
                <a:lnTo>
                  <a:pt x="4110297" y="98553"/>
                </a:lnTo>
                <a:lnTo>
                  <a:pt x="4121274" y="117588"/>
                </a:lnTo>
                <a:cubicBezTo>
                  <a:pt x="4150392" y="168082"/>
                  <a:pt x="4186229" y="230229"/>
                  <a:pt x="4230336" y="306718"/>
                </a:cubicBezTo>
                <a:cubicBezTo>
                  <a:pt x="4230339" y="306723"/>
                  <a:pt x="4230370" y="306776"/>
                  <a:pt x="4230715" y="307375"/>
                </a:cubicBezTo>
                <a:lnTo>
                  <a:pt x="4233363" y="311972"/>
                </a:lnTo>
                <a:lnTo>
                  <a:pt x="4236606" y="317599"/>
                </a:lnTo>
                <a:lnTo>
                  <a:pt x="4256156" y="351961"/>
                </a:lnTo>
                <a:lnTo>
                  <a:pt x="4257049" y="353079"/>
                </a:lnTo>
                <a:lnTo>
                  <a:pt x="4277640" y="388816"/>
                </a:lnTo>
                <a:cubicBezTo>
                  <a:pt x="4306024" y="438073"/>
                  <a:pt x="4351436" y="516887"/>
                  <a:pt x="4424096" y="642989"/>
                </a:cubicBezTo>
                <a:cubicBezTo>
                  <a:pt x="4446431" y="681578"/>
                  <a:pt x="4428156" y="713204"/>
                  <a:pt x="4383488" y="713203"/>
                </a:cubicBezTo>
                <a:cubicBezTo>
                  <a:pt x="4383481" y="713203"/>
                  <a:pt x="4382093" y="713206"/>
                  <a:pt x="4118373" y="713783"/>
                </a:cubicBezTo>
                <a:cubicBezTo>
                  <a:pt x="4112860" y="713783"/>
                  <a:pt x="4107059" y="714364"/>
                  <a:pt x="4101259" y="715234"/>
                </a:cubicBezTo>
                <a:cubicBezTo>
                  <a:pt x="4060650" y="721907"/>
                  <a:pt x="4015980" y="750341"/>
                  <a:pt x="3996547" y="784287"/>
                </a:cubicBezTo>
                <a:cubicBezTo>
                  <a:pt x="3996540" y="784300"/>
                  <a:pt x="3994952" y="787041"/>
                  <a:pt x="3661817" y="1362246"/>
                </a:cubicBezTo>
                <a:cubicBezTo>
                  <a:pt x="3639482" y="1400835"/>
                  <a:pt x="3602645" y="1400835"/>
                  <a:pt x="3580311" y="1362247"/>
                </a:cubicBezTo>
                <a:cubicBezTo>
                  <a:pt x="3580300" y="1362228"/>
                  <a:pt x="3578661" y="1359392"/>
                  <a:pt x="3330859" y="930518"/>
                </a:cubicBezTo>
                <a:cubicBezTo>
                  <a:pt x="3308524" y="891930"/>
                  <a:pt x="3253412" y="860304"/>
                  <a:pt x="3208742" y="860305"/>
                </a:cubicBezTo>
                <a:cubicBezTo>
                  <a:pt x="3208730" y="860305"/>
                  <a:pt x="3206097" y="860305"/>
                  <a:pt x="2636744" y="860305"/>
                </a:cubicBezTo>
                <a:cubicBezTo>
                  <a:pt x="2592074" y="860304"/>
                  <a:pt x="2537253" y="891929"/>
                  <a:pt x="2514918" y="930518"/>
                </a:cubicBezTo>
                <a:cubicBezTo>
                  <a:pt x="2514914" y="930525"/>
                  <a:pt x="2513854" y="932363"/>
                  <a:pt x="2228920" y="1426077"/>
                </a:cubicBezTo>
                <a:cubicBezTo>
                  <a:pt x="2206584" y="1464667"/>
                  <a:pt x="2206584" y="1528206"/>
                  <a:pt x="2228919" y="1566796"/>
                </a:cubicBezTo>
                <a:cubicBezTo>
                  <a:pt x="2228927" y="1566810"/>
                  <a:pt x="2230408" y="1569375"/>
                  <a:pt x="2514919" y="2062355"/>
                </a:cubicBezTo>
                <a:cubicBezTo>
                  <a:pt x="2537254" y="2101234"/>
                  <a:pt x="2592074" y="2132858"/>
                  <a:pt x="2636744" y="2132859"/>
                </a:cubicBezTo>
                <a:cubicBezTo>
                  <a:pt x="2636762" y="2132859"/>
                  <a:pt x="2639988" y="2132859"/>
                  <a:pt x="3208742" y="2132858"/>
                </a:cubicBezTo>
                <a:cubicBezTo>
                  <a:pt x="3253413" y="2132858"/>
                  <a:pt x="3308523" y="2101233"/>
                  <a:pt x="3330858" y="2062355"/>
                </a:cubicBezTo>
                <a:cubicBezTo>
                  <a:pt x="3330866" y="2062341"/>
                  <a:pt x="3332771" y="2059049"/>
                  <a:pt x="3783933" y="1279267"/>
                </a:cubicBezTo>
                <a:cubicBezTo>
                  <a:pt x="3806268" y="1240388"/>
                  <a:pt x="3842815" y="1240388"/>
                  <a:pt x="3865149" y="1279266"/>
                </a:cubicBezTo>
                <a:cubicBezTo>
                  <a:pt x="3865156" y="1279278"/>
                  <a:pt x="3866100" y="1280911"/>
                  <a:pt x="3996547" y="1506736"/>
                </a:cubicBezTo>
                <a:cubicBezTo>
                  <a:pt x="4018881" y="1545326"/>
                  <a:pt x="4073703" y="1577240"/>
                  <a:pt x="4118373" y="1577240"/>
                </a:cubicBezTo>
                <a:cubicBezTo>
                  <a:pt x="4118396" y="1577240"/>
                  <a:pt x="4121116" y="1577240"/>
                  <a:pt x="4454262" y="1577240"/>
                </a:cubicBezTo>
                <a:cubicBezTo>
                  <a:pt x="4498932" y="1577241"/>
                  <a:pt x="4555203" y="1545326"/>
                  <a:pt x="4577538" y="1506737"/>
                </a:cubicBezTo>
                <a:cubicBezTo>
                  <a:pt x="4578118" y="1505576"/>
                  <a:pt x="4578118" y="1505576"/>
                  <a:pt x="4578408" y="1505286"/>
                </a:cubicBezTo>
                <a:cubicBezTo>
                  <a:pt x="4578419" y="1505267"/>
                  <a:pt x="4579756" y="1502951"/>
                  <a:pt x="4746063" y="1214856"/>
                </a:cubicBezTo>
                <a:cubicBezTo>
                  <a:pt x="4768398" y="1176266"/>
                  <a:pt x="4768398" y="1112727"/>
                  <a:pt x="4746063" y="1074137"/>
                </a:cubicBezTo>
                <a:cubicBezTo>
                  <a:pt x="4746051" y="1074116"/>
                  <a:pt x="4744040" y="1070620"/>
                  <a:pt x="4413364" y="495889"/>
                </a:cubicBezTo>
                <a:cubicBezTo>
                  <a:pt x="4391029" y="457010"/>
                  <a:pt x="4409303" y="425384"/>
                  <a:pt x="4453972" y="425385"/>
                </a:cubicBezTo>
                <a:cubicBezTo>
                  <a:pt x="4453988" y="425385"/>
                  <a:pt x="4455756" y="425384"/>
                  <a:pt x="4664080" y="425262"/>
                </a:cubicBezTo>
                <a:lnTo>
                  <a:pt x="4684544" y="425251"/>
                </a:lnTo>
                <a:lnTo>
                  <a:pt x="4758411" y="425795"/>
                </a:lnTo>
                <a:cubicBezTo>
                  <a:pt x="4812899" y="426196"/>
                  <a:pt x="4875172" y="426655"/>
                  <a:pt x="4946341" y="427179"/>
                </a:cubicBezTo>
                <a:cubicBezTo>
                  <a:pt x="4957449" y="427249"/>
                  <a:pt x="4969200" y="425347"/>
                  <a:pt x="4980930" y="421857"/>
                </a:cubicBezTo>
                <a:lnTo>
                  <a:pt x="4986031" y="419659"/>
                </a:lnTo>
                <a:lnTo>
                  <a:pt x="4986745" y="419546"/>
                </a:lnTo>
                <a:lnTo>
                  <a:pt x="5014597" y="407354"/>
                </a:lnTo>
                <a:lnTo>
                  <a:pt x="5015406" y="407005"/>
                </a:lnTo>
                <a:lnTo>
                  <a:pt x="5015426" y="406991"/>
                </a:lnTo>
                <a:lnTo>
                  <a:pt x="5021294" y="404423"/>
                </a:lnTo>
                <a:cubicBezTo>
                  <a:pt x="5043375" y="391656"/>
                  <a:pt x="5062664" y="374030"/>
                  <a:pt x="5073830" y="354591"/>
                </a:cubicBezTo>
                <a:cubicBezTo>
                  <a:pt x="5073838" y="354577"/>
                  <a:pt x="5074799" y="352910"/>
                  <a:pt x="5194242" y="145771"/>
                </a:cubicBezTo>
                <a:lnTo>
                  <a:pt x="5221469" y="98553"/>
                </a:lnTo>
                <a:lnTo>
                  <a:pt x="5220303" y="98552"/>
                </a:lnTo>
                <a:lnTo>
                  <a:pt x="5222692" y="94481"/>
                </a:lnTo>
                <a:lnTo>
                  <a:pt x="5278131" y="2"/>
                </a:lnTo>
                <a:close/>
                <a:moveTo>
                  <a:pt x="31806" y="0"/>
                </a:moveTo>
                <a:lnTo>
                  <a:pt x="12192000" y="0"/>
                </a:lnTo>
                <a:lnTo>
                  <a:pt x="12192000" y="6858001"/>
                </a:lnTo>
                <a:lnTo>
                  <a:pt x="5519936" y="6858001"/>
                </a:lnTo>
                <a:lnTo>
                  <a:pt x="3798641" y="6858001"/>
                </a:lnTo>
                <a:lnTo>
                  <a:pt x="0" y="6858001"/>
                </a:lnTo>
                <a:lnTo>
                  <a:pt x="0" y="5845133"/>
                </a:lnTo>
                <a:lnTo>
                  <a:pt x="0" y="3429000"/>
                </a:lnTo>
                <a:lnTo>
                  <a:pt x="0" y="1307383"/>
                </a:lnTo>
                <a:lnTo>
                  <a:pt x="69908" y="1307234"/>
                </a:lnTo>
                <a:cubicBezTo>
                  <a:pt x="380029" y="1306572"/>
                  <a:pt x="381595" y="1306569"/>
                  <a:pt x="381603" y="1306569"/>
                </a:cubicBezTo>
                <a:cubicBezTo>
                  <a:pt x="455676" y="1306275"/>
                  <a:pt x="485951" y="1358608"/>
                  <a:pt x="449209" y="1422701"/>
                </a:cubicBezTo>
                <a:cubicBezTo>
                  <a:pt x="42396" y="2135148"/>
                  <a:pt x="40932" y="2137712"/>
                  <a:pt x="40927" y="2137721"/>
                </a:cubicBezTo>
                <a:cubicBezTo>
                  <a:pt x="4184" y="2201814"/>
                  <a:pt x="4478" y="2306480"/>
                  <a:pt x="41808" y="2370279"/>
                </a:cubicBezTo>
                <a:cubicBezTo>
                  <a:pt x="515837" y="3184840"/>
                  <a:pt x="517106" y="3187019"/>
                  <a:pt x="517109" y="3187025"/>
                </a:cubicBezTo>
                <a:cubicBezTo>
                  <a:pt x="554145" y="3250824"/>
                  <a:pt x="644973" y="3302569"/>
                  <a:pt x="718752" y="3302569"/>
                </a:cubicBezTo>
                <a:cubicBezTo>
                  <a:pt x="1660268" y="3299053"/>
                  <a:pt x="1663463" y="3299041"/>
                  <a:pt x="1663474" y="3299041"/>
                </a:cubicBezTo>
                <a:cubicBezTo>
                  <a:pt x="1737253" y="3298747"/>
                  <a:pt x="1827786" y="3246120"/>
                  <a:pt x="1864529" y="3182027"/>
                </a:cubicBezTo>
                <a:cubicBezTo>
                  <a:pt x="2332938" y="2363305"/>
                  <a:pt x="2333656" y="2362049"/>
                  <a:pt x="2333657" y="2362047"/>
                </a:cubicBezTo>
                <a:cubicBezTo>
                  <a:pt x="2370399" y="2297954"/>
                  <a:pt x="2370105" y="2193288"/>
                  <a:pt x="2333069" y="2129489"/>
                </a:cubicBezTo>
                <a:cubicBezTo>
                  <a:pt x="1859393" y="1315535"/>
                  <a:pt x="1857774" y="1312753"/>
                  <a:pt x="1857768" y="1312743"/>
                </a:cubicBezTo>
                <a:cubicBezTo>
                  <a:pt x="1820438" y="1248944"/>
                  <a:pt x="1729610" y="1196905"/>
                  <a:pt x="1655832" y="1197199"/>
                </a:cubicBezTo>
                <a:cubicBezTo>
                  <a:pt x="163159" y="1201311"/>
                  <a:pt x="161737" y="1201315"/>
                  <a:pt x="161736" y="1201315"/>
                </a:cubicBezTo>
                <a:cubicBezTo>
                  <a:pt x="87957" y="1201609"/>
                  <a:pt x="57387" y="1149276"/>
                  <a:pt x="94130" y="1085183"/>
                </a:cubicBezTo>
                <a:cubicBezTo>
                  <a:pt x="308606" y="710787"/>
                  <a:pt x="309873" y="708575"/>
                  <a:pt x="309881" y="708562"/>
                </a:cubicBezTo>
                <a:cubicBezTo>
                  <a:pt x="346624" y="644469"/>
                  <a:pt x="346036" y="539803"/>
                  <a:pt x="309000" y="476004"/>
                </a:cubicBezTo>
                <a:cubicBezTo>
                  <a:pt x="99568" y="116363"/>
                  <a:pt x="47210" y="26452"/>
                  <a:pt x="34120" y="3975"/>
                </a:cubicBez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7" name="Picture Placeholder 31"/>
          <p:cNvSpPr>
            <a:spLocks noGrp="1"/>
          </p:cNvSpPr>
          <p:nvPr>
            <p:ph type="pic" sz="quarter" idx="20"/>
          </p:nvPr>
        </p:nvSpPr>
        <p:spPr bwMode="gray">
          <a:xfrm>
            <a:off x="1263273" y="2341919"/>
            <a:ext cx="5552809" cy="4516082"/>
          </a:xfrm>
          <a:custGeom>
            <a:avLst/>
            <a:gdLst>
              <a:gd name="connsiteX0" fmla="*/ 1660621 w 5552809"/>
              <a:gd name="connsiteY0" fmla="*/ 0 h 4516082"/>
              <a:gd name="connsiteX1" fmla="*/ 3503449 w 5552809"/>
              <a:gd name="connsiteY1" fmla="*/ 0 h 4516082"/>
              <a:gd name="connsiteX2" fmla="*/ 3892671 w 5552809"/>
              <a:gd name="connsiteY2" fmla="*/ 0 h 4516082"/>
              <a:gd name="connsiteX3" fmla="*/ 4028266 w 5552809"/>
              <a:gd name="connsiteY3" fmla="*/ 21596 h 4516082"/>
              <a:gd name="connsiteX4" fmla="*/ 4369271 w 5552809"/>
              <a:gd name="connsiteY4" fmla="*/ 275207 h 4516082"/>
              <a:gd name="connsiteX5" fmla="*/ 5487175 w 5552809"/>
              <a:gd name="connsiteY5" fmla="*/ 2212080 h 4516082"/>
              <a:gd name="connsiteX6" fmla="*/ 5487175 w 5552809"/>
              <a:gd name="connsiteY6" fmla="*/ 2762650 h 4516082"/>
              <a:gd name="connsiteX7" fmla="*/ 4509009 w 5552809"/>
              <a:gd name="connsiteY7" fmla="*/ 4457414 h 4516082"/>
              <a:gd name="connsiteX8" fmla="*/ 4475148 w 5552809"/>
              <a:gd name="connsiteY8" fmla="*/ 4516082 h 4516082"/>
              <a:gd name="connsiteX9" fmla="*/ 1075176 w 5552809"/>
              <a:gd name="connsiteY9" fmla="*/ 4516082 h 4516082"/>
              <a:gd name="connsiteX10" fmla="*/ 989424 w 5552809"/>
              <a:gd name="connsiteY10" fmla="*/ 4367209 h 4516082"/>
              <a:gd name="connsiteX11" fmla="*/ 65634 w 5552809"/>
              <a:gd name="connsiteY11" fmla="*/ 2763432 h 4516082"/>
              <a:gd name="connsiteX12" fmla="*/ 65634 w 5552809"/>
              <a:gd name="connsiteY12" fmla="*/ 2212863 h 4516082"/>
              <a:gd name="connsiteX13" fmla="*/ 1184242 w 5552809"/>
              <a:gd name="connsiteY13" fmla="*/ 275990 h 4516082"/>
              <a:gd name="connsiteX14" fmla="*/ 1660621 w 5552809"/>
              <a:gd name="connsiteY14" fmla="*/ 0 h 4516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52809" h="4516082">
                <a:moveTo>
                  <a:pt x="1660621" y="0"/>
                </a:moveTo>
                <a:cubicBezTo>
                  <a:pt x="1660621" y="0"/>
                  <a:pt x="1660621" y="0"/>
                  <a:pt x="3503449" y="0"/>
                </a:cubicBezTo>
                <a:lnTo>
                  <a:pt x="3892671" y="0"/>
                </a:lnTo>
                <a:lnTo>
                  <a:pt x="4028266" y="21596"/>
                </a:lnTo>
                <a:cubicBezTo>
                  <a:pt x="4166548" y="63450"/>
                  <a:pt x="4303639" y="161388"/>
                  <a:pt x="4369271" y="275207"/>
                </a:cubicBezTo>
                <a:cubicBezTo>
                  <a:pt x="5487175" y="2212080"/>
                  <a:pt x="5487175" y="2212080"/>
                  <a:pt x="5487175" y="2212080"/>
                </a:cubicBezTo>
                <a:cubicBezTo>
                  <a:pt x="5574687" y="2363839"/>
                  <a:pt x="5574687" y="2611596"/>
                  <a:pt x="5487175" y="2762650"/>
                </a:cubicBezTo>
                <a:cubicBezTo>
                  <a:pt x="4928223" y="3731086"/>
                  <a:pt x="4648747" y="4215305"/>
                  <a:pt x="4509009" y="4457414"/>
                </a:cubicBezTo>
                <a:lnTo>
                  <a:pt x="4475148" y="4516082"/>
                </a:lnTo>
                <a:lnTo>
                  <a:pt x="1075176" y="4516082"/>
                </a:lnTo>
                <a:lnTo>
                  <a:pt x="989424" y="4367209"/>
                </a:lnTo>
                <a:cubicBezTo>
                  <a:pt x="753668" y="3957915"/>
                  <a:pt x="451899" y="3434018"/>
                  <a:pt x="65634" y="2763432"/>
                </a:cubicBezTo>
                <a:cubicBezTo>
                  <a:pt x="-21878" y="2611673"/>
                  <a:pt x="-21878" y="2363916"/>
                  <a:pt x="65634" y="2212863"/>
                </a:cubicBezTo>
                <a:cubicBezTo>
                  <a:pt x="65634" y="2212863"/>
                  <a:pt x="65634" y="2212863"/>
                  <a:pt x="1184242" y="275990"/>
                </a:cubicBezTo>
                <a:cubicBezTo>
                  <a:pt x="1271754" y="124230"/>
                  <a:pt x="1486301" y="0"/>
                  <a:pt x="1660621" y="0"/>
                </a:cubicBezTo>
                <a:close/>
              </a:path>
            </a:pathLst>
          </a:custGeom>
          <a:solidFill>
            <a:schemeClr val="accent1"/>
          </a:solidFill>
        </p:spPr>
        <p:txBody>
          <a:bodyPr wrap="square" tIns="720000" anchor="ctr">
            <a:noAutofit/>
          </a:bodyPr>
          <a:lstStyle>
            <a:lvl1pPr algn="ctr">
              <a:spcBef>
                <a:spcPts val="0"/>
              </a:spcBef>
              <a:spcAft>
                <a:spcPts val="0"/>
              </a:spcAft>
              <a:defRPr sz="1000" baseline="0">
                <a:solidFill>
                  <a:schemeClr val="bg1"/>
                </a:solidFill>
              </a:defRPr>
            </a:lvl1pPr>
          </a:lstStyle>
          <a:p>
            <a:r>
              <a:rPr lang="en-US" noProof="0"/>
              <a:t>Click icon to add picture</a:t>
            </a:r>
          </a:p>
        </p:txBody>
      </p:sp>
      <p:sp>
        <p:nvSpPr>
          <p:cNvPr id="7" name="Text Placeholder 12"/>
          <p:cNvSpPr>
            <a:spLocks noGrp="1"/>
          </p:cNvSpPr>
          <p:nvPr>
            <p:ph type="body" sz="quarter" idx="10" hasCustomPrompt="1"/>
          </p:nvPr>
        </p:nvSpPr>
        <p:spPr bwMode="gray">
          <a:xfrm>
            <a:off x="6527818" y="3501000"/>
            <a:ext cx="5040294" cy="576263"/>
          </a:xfrm>
          <a:prstGeom prst="rect">
            <a:avLst/>
          </a:prstGeom>
        </p:spPr>
        <p:txBody>
          <a:bodyPr>
            <a:noAutofit/>
          </a:bodyPr>
          <a:lstStyle>
            <a:lvl1pPr marL="0" indent="0">
              <a:spcBef>
                <a:spcPts val="0"/>
              </a:spcBef>
              <a:spcAft>
                <a:spcPts val="0"/>
              </a:spcAft>
              <a:buFont typeface="Arial" panose="020B0604020202020204" pitchFamily="34" charset="0"/>
              <a:buNone/>
              <a:defRPr baseline="0">
                <a:solidFill>
                  <a:schemeClr val="accent1"/>
                </a:solidFill>
              </a:defRPr>
            </a:lvl1pPr>
            <a:lvl2pPr marL="0" indent="0">
              <a:spcBef>
                <a:spcPts val="0"/>
              </a:spcBef>
              <a:spcAft>
                <a:spcPts val="0"/>
              </a:spcAft>
              <a:buNone/>
              <a:defRPr>
                <a:solidFill>
                  <a:schemeClr val="accent1"/>
                </a:solidFill>
              </a:defRPr>
            </a:lvl2pPr>
            <a:lvl3pPr marL="0" indent="0">
              <a:spcBef>
                <a:spcPts val="0"/>
              </a:spcBef>
              <a:spcAft>
                <a:spcPts val="0"/>
              </a:spcAft>
              <a:buNone/>
              <a:defRPr>
                <a:solidFill>
                  <a:schemeClr val="accent1"/>
                </a:solidFill>
              </a:defRPr>
            </a:lvl3pPr>
            <a:lvl4pPr marL="0" indent="0">
              <a:spcBef>
                <a:spcPts val="0"/>
              </a:spcBef>
              <a:spcAft>
                <a:spcPts val="0"/>
              </a:spcAft>
              <a:buNone/>
              <a:defRPr>
                <a:solidFill>
                  <a:schemeClr val="accent1"/>
                </a:solidFill>
              </a:defRPr>
            </a:lvl4pPr>
            <a:lvl5pPr marL="0" indent="0">
              <a:spcBef>
                <a:spcPts val="0"/>
              </a:spcBef>
              <a:spcAft>
                <a:spcPts val="0"/>
              </a:spcAft>
              <a:buNone/>
              <a:defRPr>
                <a:solidFill>
                  <a:schemeClr val="accent1"/>
                </a:solidFill>
              </a:defRPr>
            </a:lvl5pPr>
            <a:lvl6pPr marL="0" indent="0">
              <a:spcBef>
                <a:spcPts val="0"/>
              </a:spcBef>
              <a:spcAft>
                <a:spcPts val="0"/>
              </a:spcAft>
              <a:buNone/>
              <a:defRPr>
                <a:solidFill>
                  <a:schemeClr val="accent1"/>
                </a:solidFill>
              </a:defRPr>
            </a:lvl6pPr>
            <a:lvl7pPr marL="0" indent="0">
              <a:spcBef>
                <a:spcPts val="0"/>
              </a:spcBef>
              <a:spcAft>
                <a:spcPts val="0"/>
              </a:spcAft>
              <a:buNone/>
              <a:defRPr>
                <a:solidFill>
                  <a:schemeClr val="accent1"/>
                </a:solidFill>
              </a:defRPr>
            </a:lvl7pPr>
            <a:lvl8pPr marL="0" indent="0">
              <a:spcBef>
                <a:spcPts val="0"/>
              </a:spcBef>
              <a:spcAft>
                <a:spcPts val="0"/>
              </a:spcAft>
              <a:buNone/>
              <a:defRPr>
                <a:solidFill>
                  <a:schemeClr val="accent1"/>
                </a:solidFill>
              </a:defRPr>
            </a:lvl8pPr>
            <a:lvl9pPr marL="0" indent="0">
              <a:spcBef>
                <a:spcPts val="0"/>
              </a:spcBef>
              <a:spcAft>
                <a:spcPts val="0"/>
              </a:spcAft>
              <a:buNone/>
              <a:defRPr>
                <a:solidFill>
                  <a:schemeClr val="accent1"/>
                </a:solidFill>
              </a:defRPr>
            </a:lvl9pPr>
          </a:lstStyle>
          <a:p>
            <a:r>
              <a:rPr lang="en-US" noProof="0"/>
              <a:t>Name</a:t>
            </a:r>
          </a:p>
          <a:p>
            <a:r>
              <a:rPr lang="en-US" noProof="0"/>
              <a:t>Place, Date</a:t>
            </a:r>
          </a:p>
        </p:txBody>
      </p:sp>
      <p:sp>
        <p:nvSpPr>
          <p:cNvPr id="3" name="Subtitle 2"/>
          <p:cNvSpPr>
            <a:spLocks noGrp="1"/>
          </p:cNvSpPr>
          <p:nvPr>
            <p:ph type="subTitle" idx="1" hasCustomPrompt="1"/>
          </p:nvPr>
        </p:nvSpPr>
        <p:spPr bwMode="gray">
          <a:xfrm>
            <a:off x="6528047" y="2636984"/>
            <a:ext cx="5040065" cy="648000"/>
          </a:xfrm>
          <a:prstGeom prst="rect">
            <a:avLst/>
          </a:prstGeom>
        </p:spPr>
        <p:txBody>
          <a:bodyPr>
            <a:noAutofit/>
          </a:bodyPr>
          <a:lstStyle>
            <a:lvl1pPr marL="0" indent="0" algn="l">
              <a:spcBef>
                <a:spcPts val="0"/>
              </a:spcBef>
              <a:spcAft>
                <a:spcPts val="1200"/>
              </a:spcAft>
              <a:buNone/>
              <a:defRPr sz="1600" b="1" i="0" baseline="0">
                <a:solidFill>
                  <a:schemeClr val="accent1"/>
                </a:solidFill>
              </a:defRPr>
            </a:lvl1pPr>
            <a:lvl2pPr marL="0" indent="0" algn="l">
              <a:spcBef>
                <a:spcPts val="0"/>
              </a:spcBef>
              <a:spcAft>
                <a:spcPts val="1200"/>
              </a:spcAft>
              <a:buNone/>
              <a:defRPr sz="1600" b="1">
                <a:solidFill>
                  <a:schemeClr val="accent1"/>
                </a:solidFill>
              </a:defRPr>
            </a:lvl2pPr>
            <a:lvl3pPr marL="0" indent="0" algn="l">
              <a:spcBef>
                <a:spcPts val="0"/>
              </a:spcBef>
              <a:spcAft>
                <a:spcPts val="1200"/>
              </a:spcAft>
              <a:buNone/>
              <a:defRPr sz="1600" b="1">
                <a:solidFill>
                  <a:schemeClr val="accent1"/>
                </a:solidFill>
              </a:defRPr>
            </a:lvl3pPr>
            <a:lvl4pPr marL="0" indent="0" algn="l">
              <a:spcBef>
                <a:spcPts val="0"/>
              </a:spcBef>
              <a:spcAft>
                <a:spcPts val="1200"/>
              </a:spcAft>
              <a:buNone/>
              <a:defRPr sz="1600" b="1">
                <a:solidFill>
                  <a:schemeClr val="accent1"/>
                </a:solidFill>
              </a:defRPr>
            </a:lvl4pPr>
            <a:lvl5pPr marL="0" indent="0" algn="l">
              <a:spcBef>
                <a:spcPts val="0"/>
              </a:spcBef>
              <a:spcAft>
                <a:spcPts val="1200"/>
              </a:spcAft>
              <a:buNone/>
              <a:defRPr sz="1600" b="1">
                <a:solidFill>
                  <a:schemeClr val="accent1"/>
                </a:solidFill>
              </a:defRPr>
            </a:lvl5pPr>
            <a:lvl6pPr marL="0" indent="0" algn="l">
              <a:spcBef>
                <a:spcPts val="0"/>
              </a:spcBef>
              <a:spcAft>
                <a:spcPts val="1200"/>
              </a:spcAft>
              <a:buNone/>
              <a:defRPr sz="1600" b="1">
                <a:solidFill>
                  <a:schemeClr val="accent1"/>
                </a:solidFill>
              </a:defRPr>
            </a:lvl6pPr>
            <a:lvl7pPr marL="0" indent="0" algn="l">
              <a:spcBef>
                <a:spcPts val="0"/>
              </a:spcBef>
              <a:spcAft>
                <a:spcPts val="1200"/>
              </a:spcAft>
              <a:buNone/>
              <a:defRPr sz="1600" b="1">
                <a:solidFill>
                  <a:schemeClr val="accent1"/>
                </a:solidFill>
              </a:defRPr>
            </a:lvl7pPr>
            <a:lvl8pPr marL="0" indent="0" algn="l">
              <a:spcBef>
                <a:spcPts val="0"/>
              </a:spcBef>
              <a:spcAft>
                <a:spcPts val="1200"/>
              </a:spcAft>
              <a:buNone/>
              <a:defRPr sz="1600" b="1">
                <a:solidFill>
                  <a:schemeClr val="accent1"/>
                </a:solidFill>
              </a:defRPr>
            </a:lvl8pPr>
            <a:lvl9pPr marL="0" indent="0" algn="l">
              <a:spcBef>
                <a:spcPts val="0"/>
              </a:spcBef>
              <a:spcAft>
                <a:spcPts val="1200"/>
              </a:spcAft>
              <a:buNone/>
              <a:defRPr sz="1600" b="1">
                <a:solidFill>
                  <a:schemeClr val="accent1"/>
                </a:solidFill>
              </a:defRPr>
            </a:lvl9pPr>
          </a:lstStyle>
          <a:p>
            <a:r>
              <a:rPr lang="en-US" noProof="0"/>
              <a:t>Subtitle and other information of this presentation</a:t>
            </a:r>
          </a:p>
        </p:txBody>
      </p:sp>
      <p:sp>
        <p:nvSpPr>
          <p:cNvPr id="2" name="Title 1"/>
          <p:cNvSpPr>
            <a:spLocks noGrp="1"/>
          </p:cNvSpPr>
          <p:nvPr>
            <p:ph type="ctrTitle" hasCustomPrompt="1"/>
          </p:nvPr>
        </p:nvSpPr>
        <p:spPr bwMode="gray">
          <a:xfrm>
            <a:off x="6528047" y="1244406"/>
            <a:ext cx="5040065" cy="1249282"/>
          </a:xfrm>
          <a:prstGeom prst="rect">
            <a:avLst/>
          </a:prstGeom>
          <a:noFill/>
        </p:spPr>
        <p:txBody>
          <a:bodyPr anchor="b"/>
          <a:lstStyle>
            <a:lvl1pPr algn="l">
              <a:lnSpc>
                <a:spcPct val="100000"/>
              </a:lnSpc>
              <a:defRPr sz="4000" cap="none" baseline="0">
                <a:latin typeface="Merck" panose="04040805020F02020302" pitchFamily="82" charset="0"/>
                <a:ea typeface="Verdana" panose="020B0604030504040204" pitchFamily="34" charset="0"/>
                <a:cs typeface="Verdana" panose="020B0604030504040204" pitchFamily="34" charset="0"/>
              </a:defRPr>
            </a:lvl1pPr>
          </a:lstStyle>
          <a:p>
            <a:r>
              <a:rPr lang="en-US" noProof="0"/>
              <a:t>Title of presentation</a:t>
            </a:r>
          </a:p>
        </p:txBody>
      </p:sp>
      <p:sp>
        <p:nvSpPr>
          <p:cNvPr id="18" name="Text Placeholder 7"/>
          <p:cNvSpPr>
            <a:spLocks noGrp="1"/>
          </p:cNvSpPr>
          <p:nvPr>
            <p:ph type="body" sz="quarter" idx="19" hasCustomPrompt="1"/>
          </p:nvPr>
        </p:nvSpPr>
        <p:spPr bwMode="gray">
          <a:xfrm>
            <a:off x="468665" y="5338392"/>
            <a:ext cx="2520000" cy="1256400"/>
          </a:xfrm>
          <a:prstGeom prst="rect">
            <a:avLst/>
          </a:prstGeom>
          <a:blipFill dpi="0" rotWithShape="1">
            <a:blip r:embed="rId5"/>
            <a:srcRect/>
            <a:stretch>
              <a:fillRect/>
            </a:stretch>
          </a:blipFill>
        </p:spPr>
        <p:txBody>
          <a:bodyPr/>
          <a:lstStyle>
            <a:lvl1pPr>
              <a:defRPr/>
            </a:lvl1pPr>
          </a:lstStyle>
          <a:p>
            <a:pPr lvl="0"/>
            <a:r>
              <a:rPr lang="en-US"/>
              <a:t> </a:t>
            </a:r>
          </a:p>
        </p:txBody>
      </p:sp>
      <p:grpSp>
        <p:nvGrpSpPr>
          <p:cNvPr id="12" name="Logo Merck"/>
          <p:cNvGrpSpPr>
            <a:grpSpLocks noChangeAspect="1"/>
          </p:cNvGrpSpPr>
          <p:nvPr userDrawn="1"/>
        </p:nvGrpSpPr>
        <p:grpSpPr bwMode="gray">
          <a:xfrm>
            <a:off x="9536024" y="6170950"/>
            <a:ext cx="2248608" cy="354050"/>
            <a:chOff x="396364" y="7173520"/>
            <a:chExt cx="1871956" cy="294745"/>
          </a:xfrm>
          <a:solidFill>
            <a:schemeClr val="bg2"/>
          </a:solidFill>
        </p:grpSpPr>
        <p:sp>
          <p:nvSpPr>
            <p:cNvPr id="13" name="Freeform 5"/>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452612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Plastic | Pictur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8" name="Object 7"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6" name="Rectangle 25"/>
          <p:cNvSpPr/>
          <p:nvPr userDrawn="1"/>
        </p:nvSpPr>
        <p:spPr bwMode="gray">
          <a:xfrm>
            <a:off x="1" y="0"/>
            <a:ext cx="12192000" cy="6858001"/>
          </a:xfrm>
          <a:prstGeom prst="rect">
            <a:avLst/>
          </a:prstGeom>
          <a:solidFill>
            <a:srgbClr val="A5CD50"/>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25" name="Freihandform 24"/>
          <p:cNvSpPr/>
          <p:nvPr userDrawn="1"/>
        </p:nvSpPr>
        <p:spPr bwMode="gray">
          <a:xfrm>
            <a:off x="2080006" y="1596994"/>
            <a:ext cx="128588" cy="577024"/>
          </a:xfrm>
          <a:custGeom>
            <a:avLst/>
            <a:gdLst>
              <a:gd name="connsiteX0" fmla="*/ 0 w 128588"/>
              <a:gd name="connsiteY0" fmla="*/ 0 h 577024"/>
              <a:gd name="connsiteX1" fmla="*/ 111894 w 128588"/>
              <a:gd name="connsiteY1" fmla="*/ 344776 h 577024"/>
              <a:gd name="connsiteX2" fmla="*/ 124387 w 128588"/>
              <a:gd name="connsiteY2" fmla="*/ 394867 h 577024"/>
              <a:gd name="connsiteX3" fmla="*/ 113945 w 128588"/>
              <a:gd name="connsiteY3" fmla="*/ 540518 h 577024"/>
              <a:gd name="connsiteX4" fmla="*/ 94620 w 128588"/>
              <a:gd name="connsiteY4" fmla="*/ 577024 h 577024"/>
              <a:gd name="connsiteX5" fmla="*/ 69548 w 128588"/>
              <a:gd name="connsiteY5" fmla="*/ 424122 h 577024"/>
              <a:gd name="connsiteX6" fmla="*/ 36876 w 128588"/>
              <a:gd name="connsiteY6" fmla="*/ 224880 h 577024"/>
              <a:gd name="connsiteX7" fmla="*/ 0 w 128588"/>
              <a:gd name="connsiteY7" fmla="*/ 0 h 577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588" h="577024">
                <a:moveTo>
                  <a:pt x="0" y="0"/>
                </a:moveTo>
                <a:lnTo>
                  <a:pt x="111894" y="344776"/>
                </a:lnTo>
                <a:lnTo>
                  <a:pt x="124387" y="394867"/>
                </a:lnTo>
                <a:cubicBezTo>
                  <a:pt x="132657" y="445250"/>
                  <a:pt x="128481" y="495806"/>
                  <a:pt x="113945" y="540518"/>
                </a:cubicBezTo>
                <a:lnTo>
                  <a:pt x="94620" y="577024"/>
                </a:lnTo>
                <a:lnTo>
                  <a:pt x="69548" y="424122"/>
                </a:lnTo>
                <a:cubicBezTo>
                  <a:pt x="59400" y="362234"/>
                  <a:pt x="48526" y="295925"/>
                  <a:pt x="36876" y="224880"/>
                </a:cubicBezTo>
                <a:lnTo>
                  <a:pt x="0" y="0"/>
                </a:lnTo>
                <a:close/>
              </a:path>
            </a:pathLst>
          </a:custGeom>
          <a:solidFill>
            <a:srgbClr val="52328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solidFill>
                <a:schemeClr val="tx1"/>
              </a:solidFill>
            </a:endParaRPr>
          </a:p>
        </p:txBody>
      </p:sp>
      <p:grpSp>
        <p:nvGrpSpPr>
          <p:cNvPr id="5" name="Gruppieren 4"/>
          <p:cNvGrpSpPr/>
          <p:nvPr userDrawn="1"/>
        </p:nvGrpSpPr>
        <p:grpSpPr bwMode="gray">
          <a:xfrm>
            <a:off x="1" y="1"/>
            <a:ext cx="6160369" cy="5981521"/>
            <a:chOff x="1" y="1"/>
            <a:chExt cx="6160369" cy="5981521"/>
          </a:xfrm>
        </p:grpSpPr>
        <p:sp>
          <p:nvSpPr>
            <p:cNvPr id="24" name="Freihandform 23"/>
            <p:cNvSpPr/>
            <p:nvPr userDrawn="1"/>
          </p:nvSpPr>
          <p:spPr bwMode="gray">
            <a:xfrm>
              <a:off x="1" y="1"/>
              <a:ext cx="2246612" cy="2662617"/>
            </a:xfrm>
            <a:custGeom>
              <a:avLst/>
              <a:gdLst>
                <a:gd name="connsiteX0" fmla="*/ 500398 w 2246612"/>
                <a:gd name="connsiteY0" fmla="*/ 0 h 2662617"/>
                <a:gd name="connsiteX1" fmla="*/ 954996 w 2246612"/>
                <a:gd name="connsiteY1" fmla="*/ 0 h 2662617"/>
                <a:gd name="connsiteX2" fmla="*/ 966522 w 2246612"/>
                <a:gd name="connsiteY2" fmla="*/ 7772 h 2662617"/>
                <a:gd name="connsiteX3" fmla="*/ 1413376 w 2246612"/>
                <a:gd name="connsiteY3" fmla="*/ 253371 h 2662617"/>
                <a:gd name="connsiteX4" fmla="*/ 1776605 w 2246612"/>
                <a:gd name="connsiteY4" fmla="*/ 233048 h 2662617"/>
                <a:gd name="connsiteX5" fmla="*/ 2055400 w 2246612"/>
                <a:gd name="connsiteY5" fmla="*/ 0 h 2662617"/>
                <a:gd name="connsiteX6" fmla="*/ 2246612 w 2246612"/>
                <a:gd name="connsiteY6" fmla="*/ 0 h 2662617"/>
                <a:gd name="connsiteX7" fmla="*/ 1871641 w 2246612"/>
                <a:gd name="connsiteY7" fmla="*/ 317812 h 2662617"/>
                <a:gd name="connsiteX8" fmla="*/ 1785210 w 2246612"/>
                <a:gd name="connsiteY8" fmla="*/ 688648 h 2662617"/>
                <a:gd name="connsiteX9" fmla="*/ 2191896 w 2246612"/>
                <a:gd name="connsiteY9" fmla="*/ 1941757 h 2662617"/>
                <a:gd name="connsiteX10" fmla="*/ 2191899 w 2246612"/>
                <a:gd name="connsiteY10" fmla="*/ 1941769 h 2662617"/>
                <a:gd name="connsiteX11" fmla="*/ 2080005 w 2246612"/>
                <a:gd name="connsiteY11" fmla="*/ 1596993 h 2662617"/>
                <a:gd name="connsiteX12" fmla="*/ 2116881 w 2246612"/>
                <a:gd name="connsiteY12" fmla="*/ 1821873 h 2662617"/>
                <a:gd name="connsiteX13" fmla="*/ 2149553 w 2246612"/>
                <a:gd name="connsiteY13" fmla="*/ 2021115 h 2662617"/>
                <a:gd name="connsiteX14" fmla="*/ 2174625 w 2246612"/>
                <a:gd name="connsiteY14" fmla="*/ 2174017 h 2662617"/>
                <a:gd name="connsiteX15" fmla="*/ 2151682 w 2246612"/>
                <a:gd name="connsiteY15" fmla="*/ 2217358 h 2662617"/>
                <a:gd name="connsiteX16" fmla="*/ 2085496 w 2246612"/>
                <a:gd name="connsiteY16" fmla="*/ 2270920 h 2662617"/>
                <a:gd name="connsiteX17" fmla="*/ 1306147 w 2246612"/>
                <a:gd name="connsiteY17" fmla="*/ 2644371 h 2662617"/>
                <a:gd name="connsiteX18" fmla="*/ 982487 w 2246612"/>
                <a:gd name="connsiteY18" fmla="*/ 2525680 h 2662617"/>
                <a:gd name="connsiteX19" fmla="*/ 0 w 2246612"/>
                <a:gd name="connsiteY19" fmla="*/ 1029945 h 2662617"/>
                <a:gd name="connsiteX20" fmla="*/ 0 w 2246612"/>
                <a:gd name="connsiteY20" fmla="*/ 407538 h 2662617"/>
                <a:gd name="connsiteX21" fmla="*/ 490569 w 2246612"/>
                <a:gd name="connsiteY21" fmla="*/ 8907 h 2662617"/>
                <a:gd name="connsiteX22" fmla="*/ 500398 w 2246612"/>
                <a:gd name="connsiteY22" fmla="*/ 0 h 2662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246612" h="2662617">
                  <a:moveTo>
                    <a:pt x="500398" y="0"/>
                  </a:moveTo>
                  <a:lnTo>
                    <a:pt x="954996" y="0"/>
                  </a:lnTo>
                  <a:lnTo>
                    <a:pt x="966522" y="7772"/>
                  </a:lnTo>
                  <a:lnTo>
                    <a:pt x="1413376" y="253371"/>
                  </a:lnTo>
                  <a:cubicBezTo>
                    <a:pt x="1524743" y="311277"/>
                    <a:pt x="1688138" y="303257"/>
                    <a:pt x="1776605" y="233048"/>
                  </a:cubicBezTo>
                  <a:lnTo>
                    <a:pt x="2055400" y="0"/>
                  </a:lnTo>
                  <a:lnTo>
                    <a:pt x="2246612" y="0"/>
                  </a:lnTo>
                  <a:lnTo>
                    <a:pt x="1871641" y="317812"/>
                  </a:lnTo>
                  <a:cubicBezTo>
                    <a:pt x="1779936" y="389573"/>
                    <a:pt x="1746443" y="557888"/>
                    <a:pt x="1785210" y="688648"/>
                  </a:cubicBezTo>
                  <a:lnTo>
                    <a:pt x="2191896" y="1941757"/>
                  </a:lnTo>
                  <a:lnTo>
                    <a:pt x="2191899" y="1941769"/>
                  </a:lnTo>
                  <a:lnTo>
                    <a:pt x="2080005" y="1596993"/>
                  </a:lnTo>
                  <a:lnTo>
                    <a:pt x="2116881" y="1821873"/>
                  </a:lnTo>
                  <a:cubicBezTo>
                    <a:pt x="2128531" y="1892918"/>
                    <a:pt x="2139405" y="1959227"/>
                    <a:pt x="2149553" y="2021115"/>
                  </a:cubicBezTo>
                  <a:lnTo>
                    <a:pt x="2174625" y="2174017"/>
                  </a:lnTo>
                  <a:lnTo>
                    <a:pt x="2151682" y="2217358"/>
                  </a:lnTo>
                  <a:cubicBezTo>
                    <a:pt x="2133401" y="2240187"/>
                    <a:pt x="2111133" y="2258636"/>
                    <a:pt x="2085496" y="2270920"/>
                  </a:cubicBezTo>
                  <a:lnTo>
                    <a:pt x="1306147" y="2644371"/>
                  </a:lnTo>
                  <a:cubicBezTo>
                    <a:pt x="1203601" y="2693509"/>
                    <a:pt x="1055796" y="2639888"/>
                    <a:pt x="982487" y="2525680"/>
                  </a:cubicBezTo>
                  <a:lnTo>
                    <a:pt x="0" y="1029945"/>
                  </a:lnTo>
                  <a:lnTo>
                    <a:pt x="0" y="407538"/>
                  </a:lnTo>
                  <a:lnTo>
                    <a:pt x="490569" y="8907"/>
                  </a:lnTo>
                  <a:lnTo>
                    <a:pt x="500398"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solidFill>
                  <a:schemeClr val="tx1"/>
                </a:solidFill>
              </a:endParaRPr>
            </a:p>
          </p:txBody>
        </p:sp>
        <p:sp>
          <p:nvSpPr>
            <p:cNvPr id="23" name="Freihandform 22"/>
            <p:cNvSpPr/>
            <p:nvPr userDrawn="1"/>
          </p:nvSpPr>
          <p:spPr bwMode="gray">
            <a:xfrm>
              <a:off x="2653779" y="1"/>
              <a:ext cx="3506591" cy="1390583"/>
            </a:xfrm>
            <a:custGeom>
              <a:avLst/>
              <a:gdLst>
                <a:gd name="connsiteX0" fmla="*/ 0 w 3506591"/>
                <a:gd name="connsiteY0" fmla="*/ 0 h 1390583"/>
                <a:gd name="connsiteX1" fmla="*/ 3390444 w 3506591"/>
                <a:gd name="connsiteY1" fmla="*/ 0 h 1390583"/>
                <a:gd name="connsiteX2" fmla="*/ 3460045 w 3506591"/>
                <a:gd name="connsiteY2" fmla="*/ 104891 h 1390583"/>
                <a:gd name="connsiteX3" fmla="*/ 3413013 w 3506591"/>
                <a:gd name="connsiteY3" fmla="*/ 405605 h 1390583"/>
                <a:gd name="connsiteX4" fmla="*/ 1397716 w 3506591"/>
                <a:gd name="connsiteY4" fmla="*/ 1371303 h 1390583"/>
                <a:gd name="connsiteX5" fmla="*/ 1050940 w 3506591"/>
                <a:gd name="connsiteY5" fmla="*/ 1268080 h 1390583"/>
                <a:gd name="connsiteX6" fmla="*/ 0 w 3506591"/>
                <a:gd name="connsiteY6" fmla="*/ 0 h 1390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06591" h="1390583">
                  <a:moveTo>
                    <a:pt x="0" y="0"/>
                  </a:moveTo>
                  <a:lnTo>
                    <a:pt x="3390444" y="0"/>
                  </a:lnTo>
                  <a:lnTo>
                    <a:pt x="3460045" y="104891"/>
                  </a:lnTo>
                  <a:cubicBezTo>
                    <a:pt x="3537733" y="219929"/>
                    <a:pt x="3515559" y="356467"/>
                    <a:pt x="3413013" y="405605"/>
                  </a:cubicBezTo>
                  <a:lnTo>
                    <a:pt x="1397716" y="1371303"/>
                  </a:lnTo>
                  <a:cubicBezTo>
                    <a:pt x="1296249" y="1419924"/>
                    <a:pt x="1139871" y="1373339"/>
                    <a:pt x="1050940" y="1268080"/>
                  </a:cubicBezTo>
                  <a:lnTo>
                    <a:pt x="0"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solidFill>
                  <a:schemeClr val="tx1"/>
                </a:solidFill>
              </a:endParaRPr>
            </a:p>
          </p:txBody>
        </p:sp>
        <p:sp>
          <p:nvSpPr>
            <p:cNvPr id="21" name="Freihandform 20"/>
            <p:cNvSpPr/>
            <p:nvPr userDrawn="1"/>
          </p:nvSpPr>
          <p:spPr bwMode="gray">
            <a:xfrm>
              <a:off x="1" y="2978510"/>
              <a:ext cx="1254096" cy="3003012"/>
            </a:xfrm>
            <a:custGeom>
              <a:avLst/>
              <a:gdLst>
                <a:gd name="connsiteX0" fmla="*/ 0 w 1254096"/>
                <a:gd name="connsiteY0" fmla="*/ 0 h 3003012"/>
                <a:gd name="connsiteX1" fmla="*/ 983737 w 1254096"/>
                <a:gd name="connsiteY1" fmla="*/ 707595 h 3003012"/>
                <a:gd name="connsiteX2" fmla="*/ 1196849 w 1254096"/>
                <a:gd name="connsiteY2" fmla="*/ 1088625 h 3003012"/>
                <a:gd name="connsiteX3" fmla="*/ 1253012 w 1254096"/>
                <a:gd name="connsiteY3" fmla="*/ 1729339 h 3003012"/>
                <a:gd name="connsiteX4" fmla="*/ 1087196 w 1254096"/>
                <a:gd name="connsiteY4" fmla="*/ 2059155 h 3003012"/>
                <a:gd name="connsiteX5" fmla="*/ 213936 w 1254096"/>
                <a:gd name="connsiteY5" fmla="*/ 2477607 h 3003012"/>
                <a:gd name="connsiteX6" fmla="*/ 13209 w 1254096"/>
                <a:gd name="connsiteY6" fmla="*/ 2806583 h 3003012"/>
                <a:gd name="connsiteX7" fmla="*/ 0 w 1254096"/>
                <a:gd name="connsiteY7" fmla="*/ 3003012 h 3003012"/>
                <a:gd name="connsiteX8" fmla="*/ 0 w 1254096"/>
                <a:gd name="connsiteY8" fmla="*/ 0 h 3003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4096" h="3003012">
                  <a:moveTo>
                    <a:pt x="0" y="0"/>
                  </a:moveTo>
                  <a:lnTo>
                    <a:pt x="983737" y="707595"/>
                  </a:lnTo>
                  <a:cubicBezTo>
                    <a:pt x="1092175" y="781545"/>
                    <a:pt x="1186903" y="954302"/>
                    <a:pt x="1196849" y="1088625"/>
                  </a:cubicBezTo>
                  <a:lnTo>
                    <a:pt x="1253012" y="1729339"/>
                  </a:lnTo>
                  <a:cubicBezTo>
                    <a:pt x="1264037" y="1863145"/>
                    <a:pt x="1189742" y="2010016"/>
                    <a:pt x="1087196" y="2059155"/>
                  </a:cubicBezTo>
                  <a:lnTo>
                    <a:pt x="213936" y="2477607"/>
                  </a:lnTo>
                  <a:cubicBezTo>
                    <a:pt x="111391" y="2526745"/>
                    <a:pt x="19192" y="2677804"/>
                    <a:pt x="13209" y="2806583"/>
                  </a:cubicBezTo>
                  <a:lnTo>
                    <a:pt x="0" y="3003012"/>
                  </a:lnTo>
                  <a:lnTo>
                    <a:pt x="0"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solidFill>
                  <a:schemeClr val="tx1"/>
                </a:solidFill>
              </a:endParaRPr>
            </a:p>
          </p:txBody>
        </p:sp>
      </p:grpSp>
      <p:grpSp>
        <p:nvGrpSpPr>
          <p:cNvPr id="6" name="Gruppieren 5"/>
          <p:cNvGrpSpPr/>
          <p:nvPr userDrawn="1"/>
        </p:nvGrpSpPr>
        <p:grpSpPr bwMode="gray">
          <a:xfrm>
            <a:off x="0" y="1"/>
            <a:ext cx="6160368" cy="5981521"/>
            <a:chOff x="0" y="1"/>
            <a:chExt cx="6160368" cy="5981521"/>
          </a:xfrm>
        </p:grpSpPr>
        <p:sp>
          <p:nvSpPr>
            <p:cNvPr id="34" name="Freeform 33"/>
            <p:cNvSpPr>
              <a:spLocks/>
            </p:cNvSpPr>
            <p:nvPr userDrawn="1"/>
          </p:nvSpPr>
          <p:spPr bwMode="gray">
            <a:xfrm>
              <a:off x="0" y="2978510"/>
              <a:ext cx="1253258" cy="3003012"/>
            </a:xfrm>
            <a:custGeom>
              <a:avLst/>
              <a:gdLst>
                <a:gd name="connsiteX0" fmla="*/ 0 w 1253258"/>
                <a:gd name="connsiteY0" fmla="*/ 0 h 3003012"/>
                <a:gd name="connsiteX1" fmla="*/ 644699 w 1253258"/>
                <a:gd name="connsiteY1" fmla="*/ 463727 h 3003012"/>
                <a:gd name="connsiteX2" fmla="*/ 625018 w 1253258"/>
                <a:gd name="connsiteY2" fmla="*/ 474245 h 3003012"/>
                <a:gd name="connsiteX3" fmla="*/ 465974 w 1253258"/>
                <a:gd name="connsiteY3" fmla="*/ 627800 h 3003012"/>
                <a:gd name="connsiteX4" fmla="*/ 267051 w 1253258"/>
                <a:gd name="connsiteY4" fmla="*/ 928336 h 3003012"/>
                <a:gd name="connsiteX5" fmla="*/ 345869 w 1253258"/>
                <a:gd name="connsiteY5" fmla="*/ 1247655 h 3003012"/>
                <a:gd name="connsiteX6" fmla="*/ 1238476 w 1253258"/>
                <a:gd name="connsiteY6" fmla="*/ 1756027 h 3003012"/>
                <a:gd name="connsiteX7" fmla="*/ 1253183 w 1253258"/>
                <a:gd name="connsiteY7" fmla="*/ 1764403 h 3003012"/>
                <a:gd name="connsiteX8" fmla="*/ 1253258 w 1253258"/>
                <a:gd name="connsiteY8" fmla="*/ 1779912 h 3003012"/>
                <a:gd name="connsiteX9" fmla="*/ 1087196 w 1253258"/>
                <a:gd name="connsiteY9" fmla="*/ 2059155 h 3003012"/>
                <a:gd name="connsiteX10" fmla="*/ 213936 w 1253258"/>
                <a:gd name="connsiteY10" fmla="*/ 2477607 h 3003012"/>
                <a:gd name="connsiteX11" fmla="*/ 13209 w 1253258"/>
                <a:gd name="connsiteY11" fmla="*/ 2806583 h 3003012"/>
                <a:gd name="connsiteX12" fmla="*/ 0 w 1253258"/>
                <a:gd name="connsiteY12" fmla="*/ 3003012 h 3003012"/>
                <a:gd name="connsiteX13" fmla="*/ 0 w 1253258"/>
                <a:gd name="connsiteY13" fmla="*/ 1103514 h 3003012"/>
                <a:gd name="connsiteX14" fmla="*/ 30463 w 1253258"/>
                <a:gd name="connsiteY14" fmla="*/ 1057811 h 3003012"/>
                <a:gd name="connsiteX15" fmla="*/ 327103 w 1253258"/>
                <a:gd name="connsiteY15" fmla="*/ 612773 h 3003012"/>
                <a:gd name="connsiteX16" fmla="*/ 255791 w 1253258"/>
                <a:gd name="connsiteY16" fmla="*/ 289697 h 3003012"/>
                <a:gd name="connsiteX17" fmla="*/ 62447 w 1253258"/>
                <a:gd name="connsiteY17" fmla="*/ 165880 h 3003012"/>
                <a:gd name="connsiteX18" fmla="*/ 0 w 1253258"/>
                <a:gd name="connsiteY18" fmla="*/ 125890 h 3003012"/>
                <a:gd name="connsiteX19" fmla="*/ 0 w 1253258"/>
                <a:gd name="connsiteY19" fmla="*/ 0 h 3003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53258" h="3003012">
                  <a:moveTo>
                    <a:pt x="0" y="0"/>
                  </a:moveTo>
                  <a:lnTo>
                    <a:pt x="644699" y="463727"/>
                  </a:lnTo>
                  <a:lnTo>
                    <a:pt x="625018" y="474245"/>
                  </a:lnTo>
                  <a:cubicBezTo>
                    <a:pt x="559805" y="516977"/>
                    <a:pt x="501629" y="571450"/>
                    <a:pt x="465974" y="627800"/>
                  </a:cubicBezTo>
                  <a:cubicBezTo>
                    <a:pt x="465974" y="627800"/>
                    <a:pt x="465974" y="627800"/>
                    <a:pt x="267051" y="928336"/>
                  </a:cubicBezTo>
                  <a:cubicBezTo>
                    <a:pt x="195739" y="1037280"/>
                    <a:pt x="233272" y="1183791"/>
                    <a:pt x="345869" y="1247655"/>
                  </a:cubicBezTo>
                  <a:cubicBezTo>
                    <a:pt x="345869" y="1247655"/>
                    <a:pt x="345869" y="1247655"/>
                    <a:pt x="1238476" y="1756027"/>
                  </a:cubicBezTo>
                  <a:lnTo>
                    <a:pt x="1253183" y="1764403"/>
                  </a:lnTo>
                  <a:lnTo>
                    <a:pt x="1253258" y="1779912"/>
                  </a:lnTo>
                  <a:cubicBezTo>
                    <a:pt x="1245022" y="1898336"/>
                    <a:pt x="1176924" y="2016159"/>
                    <a:pt x="1087196" y="2059155"/>
                  </a:cubicBezTo>
                  <a:lnTo>
                    <a:pt x="213936" y="2477607"/>
                  </a:lnTo>
                  <a:cubicBezTo>
                    <a:pt x="111391" y="2526745"/>
                    <a:pt x="19192" y="2677804"/>
                    <a:pt x="13209" y="2806583"/>
                  </a:cubicBezTo>
                  <a:lnTo>
                    <a:pt x="0" y="3003012"/>
                  </a:lnTo>
                  <a:lnTo>
                    <a:pt x="0" y="1103514"/>
                  </a:lnTo>
                  <a:lnTo>
                    <a:pt x="30463" y="1057811"/>
                  </a:lnTo>
                  <a:cubicBezTo>
                    <a:pt x="123035" y="918929"/>
                    <a:pt x="221777" y="770789"/>
                    <a:pt x="327103" y="612773"/>
                  </a:cubicBezTo>
                  <a:cubicBezTo>
                    <a:pt x="398415" y="507585"/>
                    <a:pt x="368389" y="357317"/>
                    <a:pt x="255791" y="289697"/>
                  </a:cubicBezTo>
                  <a:cubicBezTo>
                    <a:pt x="255791" y="289697"/>
                    <a:pt x="255791" y="289697"/>
                    <a:pt x="62447" y="165880"/>
                  </a:cubicBezTo>
                  <a:lnTo>
                    <a:pt x="0" y="125890"/>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31" name="Freeform 30"/>
            <p:cNvSpPr/>
            <p:nvPr userDrawn="1"/>
          </p:nvSpPr>
          <p:spPr bwMode="gray">
            <a:xfrm>
              <a:off x="3045424" y="1"/>
              <a:ext cx="3114944" cy="1390583"/>
            </a:xfrm>
            <a:custGeom>
              <a:avLst/>
              <a:gdLst>
                <a:gd name="connsiteX0" fmla="*/ 1954302 w 3114944"/>
                <a:gd name="connsiteY0" fmla="*/ 0 h 1390583"/>
                <a:gd name="connsiteX1" fmla="*/ 2998798 w 3114944"/>
                <a:gd name="connsiteY1" fmla="*/ 0 h 1390583"/>
                <a:gd name="connsiteX2" fmla="*/ 3068398 w 3114944"/>
                <a:gd name="connsiteY2" fmla="*/ 104891 h 1390583"/>
                <a:gd name="connsiteX3" fmla="*/ 3021366 w 3114944"/>
                <a:gd name="connsiteY3" fmla="*/ 405605 h 1390583"/>
                <a:gd name="connsiteX4" fmla="*/ 2489182 w 3114944"/>
                <a:gd name="connsiteY4" fmla="*/ 660619 h 1390583"/>
                <a:gd name="connsiteX5" fmla="*/ 2437018 w 3114944"/>
                <a:gd name="connsiteY5" fmla="*/ 627214 h 1390583"/>
                <a:gd name="connsiteX6" fmla="*/ 2175618 w 3114944"/>
                <a:gd name="connsiteY6" fmla="*/ 459813 h 1390583"/>
                <a:gd name="connsiteX7" fmla="*/ 1762760 w 3114944"/>
                <a:gd name="connsiteY7" fmla="*/ 441030 h 1390583"/>
                <a:gd name="connsiteX8" fmla="*/ 1327382 w 3114944"/>
                <a:gd name="connsiteY8" fmla="*/ 673945 h 1390583"/>
                <a:gd name="connsiteX9" fmla="*/ 1079668 w 3114944"/>
                <a:gd name="connsiteY9" fmla="*/ 1019562 h 1390583"/>
                <a:gd name="connsiteX10" fmla="*/ 1026896 w 3114944"/>
                <a:gd name="connsiteY10" fmla="*/ 1341833 h 1390583"/>
                <a:gd name="connsiteX11" fmla="*/ 1023432 w 3114944"/>
                <a:gd name="connsiteY11" fmla="*/ 1362983 h 1390583"/>
                <a:gd name="connsiteX12" fmla="*/ 1006070 w 3114944"/>
                <a:gd name="connsiteY12" fmla="*/ 1371303 h 1390583"/>
                <a:gd name="connsiteX13" fmla="*/ 659294 w 3114944"/>
                <a:gd name="connsiteY13" fmla="*/ 1268080 h 1390583"/>
                <a:gd name="connsiteX14" fmla="*/ 0 w 3114944"/>
                <a:gd name="connsiteY14" fmla="*/ 472566 h 1390583"/>
                <a:gd name="connsiteX15" fmla="*/ 40018 w 3114944"/>
                <a:gd name="connsiteY15" fmla="*/ 482354 h 1390583"/>
                <a:gd name="connsiteX16" fmla="*/ 824446 w 3114944"/>
                <a:gd name="connsiteY16" fmla="*/ 636378 h 1390583"/>
                <a:gd name="connsiteX17" fmla="*/ 1267330 w 3114944"/>
                <a:gd name="connsiteY17" fmla="*/ 572514 h 1390583"/>
                <a:gd name="connsiteX18" fmla="*/ 1725228 w 3114944"/>
                <a:gd name="connsiteY18" fmla="*/ 328329 h 1390583"/>
                <a:gd name="connsiteX19" fmla="*/ 1949470 w 3114944"/>
                <a:gd name="connsiteY19" fmla="*/ 28021 h 1390583"/>
                <a:gd name="connsiteX20" fmla="*/ 1954302 w 3114944"/>
                <a:gd name="connsiteY20" fmla="*/ 0 h 1390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14944" h="1390583">
                  <a:moveTo>
                    <a:pt x="1954302" y="0"/>
                  </a:moveTo>
                  <a:lnTo>
                    <a:pt x="2998798" y="0"/>
                  </a:lnTo>
                  <a:lnTo>
                    <a:pt x="3068398" y="104891"/>
                  </a:lnTo>
                  <a:cubicBezTo>
                    <a:pt x="3146086" y="219929"/>
                    <a:pt x="3123914" y="356467"/>
                    <a:pt x="3021366" y="405605"/>
                  </a:cubicBezTo>
                  <a:lnTo>
                    <a:pt x="2489182" y="660619"/>
                  </a:lnTo>
                  <a:lnTo>
                    <a:pt x="2437018" y="627214"/>
                  </a:lnTo>
                  <a:cubicBezTo>
                    <a:pt x="2361228" y="578677"/>
                    <a:pt x="2274610" y="523207"/>
                    <a:pt x="2175618" y="459813"/>
                  </a:cubicBezTo>
                  <a:cubicBezTo>
                    <a:pt x="2063020" y="392193"/>
                    <a:pt x="1879110" y="380923"/>
                    <a:pt x="1762760" y="441030"/>
                  </a:cubicBezTo>
                  <a:cubicBezTo>
                    <a:pt x="1762760" y="441030"/>
                    <a:pt x="1762760" y="441030"/>
                    <a:pt x="1327382" y="673945"/>
                  </a:cubicBezTo>
                  <a:cubicBezTo>
                    <a:pt x="1211032" y="737809"/>
                    <a:pt x="1098434" y="891834"/>
                    <a:pt x="1079668" y="1019562"/>
                  </a:cubicBezTo>
                  <a:cubicBezTo>
                    <a:pt x="1079668" y="1019562"/>
                    <a:pt x="1079668" y="1019562"/>
                    <a:pt x="1026896" y="1341833"/>
                  </a:cubicBezTo>
                  <a:lnTo>
                    <a:pt x="1023432" y="1362983"/>
                  </a:lnTo>
                  <a:lnTo>
                    <a:pt x="1006070" y="1371303"/>
                  </a:lnTo>
                  <a:cubicBezTo>
                    <a:pt x="904602" y="1419924"/>
                    <a:pt x="748226" y="1373339"/>
                    <a:pt x="659294" y="1268080"/>
                  </a:cubicBezTo>
                  <a:lnTo>
                    <a:pt x="0" y="472566"/>
                  </a:lnTo>
                  <a:lnTo>
                    <a:pt x="40018" y="482354"/>
                  </a:lnTo>
                  <a:cubicBezTo>
                    <a:pt x="40018" y="482354"/>
                    <a:pt x="40018" y="482354"/>
                    <a:pt x="824446" y="636378"/>
                  </a:cubicBezTo>
                  <a:cubicBezTo>
                    <a:pt x="952058" y="662675"/>
                    <a:pt x="1150980" y="632622"/>
                    <a:pt x="1267330" y="572514"/>
                  </a:cubicBezTo>
                  <a:cubicBezTo>
                    <a:pt x="1267330" y="572514"/>
                    <a:pt x="1267330" y="572514"/>
                    <a:pt x="1725228" y="328329"/>
                  </a:cubicBezTo>
                  <a:cubicBezTo>
                    <a:pt x="1827034" y="272448"/>
                    <a:pt x="1920222" y="144662"/>
                    <a:pt x="1949470" y="28021"/>
                  </a:cubicBezTo>
                  <a:lnTo>
                    <a:pt x="1954302"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32" name="Freeform 31"/>
            <p:cNvSpPr/>
            <p:nvPr userDrawn="1"/>
          </p:nvSpPr>
          <p:spPr bwMode="gray">
            <a:xfrm>
              <a:off x="0" y="137804"/>
              <a:ext cx="2047830" cy="1873007"/>
            </a:xfrm>
            <a:custGeom>
              <a:avLst/>
              <a:gdLst>
                <a:gd name="connsiteX0" fmla="*/ 331946 w 2047830"/>
                <a:gd name="connsiteY0" fmla="*/ 0 h 1873007"/>
                <a:gd name="connsiteX1" fmla="*/ 360420 w 2047830"/>
                <a:gd name="connsiteY1" fmla="*/ 47686 h 1873007"/>
                <a:gd name="connsiteX2" fmla="*/ 717140 w 2047830"/>
                <a:gd name="connsiteY2" fmla="*/ 645087 h 1873007"/>
                <a:gd name="connsiteX3" fmla="*/ 1073698 w 2047830"/>
                <a:gd name="connsiteY3" fmla="*/ 896785 h 1873007"/>
                <a:gd name="connsiteX4" fmla="*/ 1861882 w 2047830"/>
                <a:gd name="connsiteY4" fmla="*/ 1062080 h 1873007"/>
                <a:gd name="connsiteX5" fmla="*/ 1912830 w 2047830"/>
                <a:gd name="connsiteY5" fmla="*/ 1067987 h 1873007"/>
                <a:gd name="connsiteX6" fmla="*/ 1952650 w 2047830"/>
                <a:gd name="connsiteY6" fmla="*/ 1066776 h 1873007"/>
                <a:gd name="connsiteX7" fmla="*/ 2047830 w 2047830"/>
                <a:gd name="connsiteY7" fmla="*/ 1360050 h 1873007"/>
                <a:gd name="connsiteX8" fmla="*/ 1986678 w 2047830"/>
                <a:gd name="connsiteY8" fmla="*/ 1274333 h 1873007"/>
                <a:gd name="connsiteX9" fmla="*/ 1809336 w 2047830"/>
                <a:gd name="connsiteY9" fmla="*/ 1171024 h 1873007"/>
                <a:gd name="connsiteX10" fmla="*/ 1148764 w 2047830"/>
                <a:gd name="connsiteY10" fmla="*/ 1028270 h 1873007"/>
                <a:gd name="connsiteX11" fmla="*/ 844750 w 2047830"/>
                <a:gd name="connsiteY11" fmla="*/ 1212348 h 1873007"/>
                <a:gd name="connsiteX12" fmla="*/ 649990 w 2047830"/>
                <a:gd name="connsiteY12" fmla="*/ 1854215 h 1873007"/>
                <a:gd name="connsiteX13" fmla="*/ 644290 w 2047830"/>
                <a:gd name="connsiteY13" fmla="*/ 1873007 h 1873007"/>
                <a:gd name="connsiteX14" fmla="*/ 0 w 2047830"/>
                <a:gd name="connsiteY14" fmla="*/ 892142 h 1873007"/>
                <a:gd name="connsiteX15" fmla="*/ 0 w 2047830"/>
                <a:gd name="connsiteY15" fmla="*/ 269735 h 1873007"/>
                <a:gd name="connsiteX16" fmla="*/ 331946 w 2047830"/>
                <a:gd name="connsiteY16" fmla="*/ 0 h 187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47830" h="1873007">
                  <a:moveTo>
                    <a:pt x="331946" y="0"/>
                  </a:moveTo>
                  <a:lnTo>
                    <a:pt x="360420" y="47686"/>
                  </a:lnTo>
                  <a:cubicBezTo>
                    <a:pt x="455658" y="207182"/>
                    <a:pt x="572874" y="403484"/>
                    <a:pt x="717140" y="645087"/>
                  </a:cubicBezTo>
                  <a:cubicBezTo>
                    <a:pt x="784698" y="754031"/>
                    <a:pt x="946088" y="870488"/>
                    <a:pt x="1073698" y="896785"/>
                  </a:cubicBezTo>
                  <a:cubicBezTo>
                    <a:pt x="1073698" y="896785"/>
                    <a:pt x="1073698" y="896785"/>
                    <a:pt x="1861882" y="1062080"/>
                  </a:cubicBezTo>
                  <a:cubicBezTo>
                    <a:pt x="1878302" y="1065367"/>
                    <a:pt x="1895368" y="1067304"/>
                    <a:pt x="1912830" y="1067987"/>
                  </a:cubicBezTo>
                  <a:lnTo>
                    <a:pt x="1952650" y="1066776"/>
                  </a:lnTo>
                  <a:lnTo>
                    <a:pt x="2047830" y="1360050"/>
                  </a:lnTo>
                  <a:lnTo>
                    <a:pt x="1986678" y="1274333"/>
                  </a:lnTo>
                  <a:cubicBezTo>
                    <a:pt x="1937886" y="1222679"/>
                    <a:pt x="1875018" y="1184173"/>
                    <a:pt x="1809336" y="1171024"/>
                  </a:cubicBezTo>
                  <a:cubicBezTo>
                    <a:pt x="1809336" y="1171024"/>
                    <a:pt x="1809336" y="1171024"/>
                    <a:pt x="1148764" y="1028270"/>
                  </a:cubicBezTo>
                  <a:cubicBezTo>
                    <a:pt x="1017400" y="1001973"/>
                    <a:pt x="882282" y="1084620"/>
                    <a:pt x="844750" y="1212348"/>
                  </a:cubicBezTo>
                  <a:cubicBezTo>
                    <a:pt x="844750" y="1212348"/>
                    <a:pt x="844750" y="1212348"/>
                    <a:pt x="649990" y="1854215"/>
                  </a:cubicBezTo>
                  <a:lnTo>
                    <a:pt x="644290" y="1873007"/>
                  </a:lnTo>
                  <a:lnTo>
                    <a:pt x="0" y="892142"/>
                  </a:lnTo>
                  <a:lnTo>
                    <a:pt x="0" y="269735"/>
                  </a:lnTo>
                  <a:lnTo>
                    <a:pt x="331946"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grpSp>
      <p:sp>
        <p:nvSpPr>
          <p:cNvPr id="28" name="Picture Placeholder 19"/>
          <p:cNvSpPr>
            <a:spLocks noGrp="1"/>
          </p:cNvSpPr>
          <p:nvPr userDrawn="1">
            <p:ph type="pic" sz="quarter" idx="18"/>
          </p:nvPr>
        </p:nvSpPr>
        <p:spPr bwMode="gray">
          <a:xfrm>
            <a:off x="1416000" y="1501931"/>
            <a:ext cx="4385900" cy="3924309"/>
          </a:xfrm>
          <a:custGeom>
            <a:avLst/>
            <a:gdLst>
              <a:gd name="connsiteX0" fmla="*/ 2640160 w 4025900"/>
              <a:gd name="connsiteY0" fmla="*/ 1421 h 3602197"/>
              <a:gd name="connsiteX1" fmla="*/ 3141707 w 4025900"/>
              <a:gd name="connsiteY1" fmla="*/ 189633 h 3602197"/>
              <a:gd name="connsiteX2" fmla="*/ 3728661 w 4025900"/>
              <a:gd name="connsiteY2" fmla="*/ 513040 h 3602197"/>
              <a:gd name="connsiteX3" fmla="*/ 4025900 w 4025900"/>
              <a:gd name="connsiteY3" fmla="*/ 1016954 h 3602197"/>
              <a:gd name="connsiteX4" fmla="*/ 4025900 w 4025900"/>
              <a:gd name="connsiteY4" fmla="*/ 3295850 h 3602197"/>
              <a:gd name="connsiteX5" fmla="*/ 3687273 w 4025900"/>
              <a:gd name="connsiteY5" fmla="*/ 3600454 h 3602197"/>
              <a:gd name="connsiteX6" fmla="*/ 338627 w 4025900"/>
              <a:gd name="connsiteY6" fmla="*/ 3235681 h 3602197"/>
              <a:gd name="connsiteX7" fmla="*/ 0 w 4025900"/>
              <a:gd name="connsiteY7" fmla="*/ 2855865 h 3602197"/>
              <a:gd name="connsiteX8" fmla="*/ 0 w 4025900"/>
              <a:gd name="connsiteY8" fmla="*/ 1550953 h 3602197"/>
              <a:gd name="connsiteX9" fmla="*/ 308527 w 4025900"/>
              <a:gd name="connsiteY9" fmla="*/ 1065842 h 3602197"/>
              <a:gd name="connsiteX10" fmla="*/ 2374152 w 4025900"/>
              <a:gd name="connsiteY10" fmla="*/ 95619 h 3602197"/>
              <a:gd name="connsiteX11" fmla="*/ 2640160 w 4025900"/>
              <a:gd name="connsiteY11" fmla="*/ 1421 h 3602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25900" h="3602197">
                <a:moveTo>
                  <a:pt x="2640160" y="1421"/>
                </a:moveTo>
                <a:cubicBezTo>
                  <a:pt x="2765455" y="-10147"/>
                  <a:pt x="2883034" y="48612"/>
                  <a:pt x="3141707" y="189633"/>
                </a:cubicBezTo>
                <a:cubicBezTo>
                  <a:pt x="3141707" y="189633"/>
                  <a:pt x="3141707" y="189633"/>
                  <a:pt x="3728661" y="513040"/>
                </a:cubicBezTo>
                <a:cubicBezTo>
                  <a:pt x="3890449" y="603293"/>
                  <a:pt x="4025900" y="828927"/>
                  <a:pt x="4025900" y="1016954"/>
                </a:cubicBezTo>
                <a:cubicBezTo>
                  <a:pt x="4025900" y="1016954"/>
                  <a:pt x="4025900" y="1016954"/>
                  <a:pt x="4025900" y="3295850"/>
                </a:cubicBezTo>
                <a:cubicBezTo>
                  <a:pt x="4025900" y="3483877"/>
                  <a:pt x="3875399" y="3619257"/>
                  <a:pt x="3687273" y="3600454"/>
                </a:cubicBezTo>
                <a:cubicBezTo>
                  <a:pt x="3687273" y="3600454"/>
                  <a:pt x="3687273" y="3600454"/>
                  <a:pt x="338627" y="3235681"/>
                </a:cubicBezTo>
                <a:cubicBezTo>
                  <a:pt x="154264" y="3213117"/>
                  <a:pt x="0" y="3043892"/>
                  <a:pt x="0" y="2855865"/>
                </a:cubicBezTo>
                <a:cubicBezTo>
                  <a:pt x="0" y="2855865"/>
                  <a:pt x="0" y="2855865"/>
                  <a:pt x="0" y="1550953"/>
                </a:cubicBezTo>
                <a:cubicBezTo>
                  <a:pt x="0" y="1366686"/>
                  <a:pt x="139213" y="1144813"/>
                  <a:pt x="308527" y="1065842"/>
                </a:cubicBezTo>
                <a:cubicBezTo>
                  <a:pt x="308527" y="1065842"/>
                  <a:pt x="308527" y="1065842"/>
                  <a:pt x="2374152" y="95619"/>
                </a:cubicBezTo>
                <a:cubicBezTo>
                  <a:pt x="2487028" y="40621"/>
                  <a:pt x="2564983" y="8362"/>
                  <a:pt x="2640160" y="1421"/>
                </a:cubicBezTo>
                <a:close/>
              </a:path>
            </a:pathLst>
          </a:custGeom>
          <a:solidFill>
            <a:schemeClr val="accent1"/>
          </a:solidFill>
        </p:spPr>
        <p:txBody>
          <a:bodyPr wrap="square" tIns="756000" anchor="ctr">
            <a:noAutofit/>
          </a:bodyPr>
          <a:lstStyle>
            <a:lvl1pPr algn="ctr">
              <a:spcBef>
                <a:spcPts val="0"/>
              </a:spcBef>
              <a:spcAft>
                <a:spcPts val="0"/>
              </a:spcAft>
              <a:defRPr sz="1000" baseline="0">
                <a:solidFill>
                  <a:schemeClr val="bg1"/>
                </a:solidFill>
              </a:defRPr>
            </a:lvl1pPr>
          </a:lstStyle>
          <a:p>
            <a:r>
              <a:rPr lang="en-US" noProof="0"/>
              <a:t>Click icon to add picture</a:t>
            </a:r>
          </a:p>
        </p:txBody>
      </p:sp>
      <p:sp>
        <p:nvSpPr>
          <p:cNvPr id="7" name="Text Placeholder 12"/>
          <p:cNvSpPr>
            <a:spLocks noGrp="1"/>
          </p:cNvSpPr>
          <p:nvPr userDrawn="1">
            <p:ph type="body" sz="quarter" idx="10" hasCustomPrompt="1"/>
          </p:nvPr>
        </p:nvSpPr>
        <p:spPr bwMode="gray">
          <a:xfrm>
            <a:off x="6095999" y="4293096"/>
            <a:ext cx="5472113" cy="576263"/>
          </a:xfrm>
          <a:prstGeom prst="rect">
            <a:avLst/>
          </a:prstGeom>
        </p:spPr>
        <p:txBody>
          <a:bodyPr>
            <a:noAutofit/>
          </a:bodyPr>
          <a:lstStyle>
            <a:lvl1pPr marL="0" indent="0">
              <a:spcBef>
                <a:spcPts val="0"/>
              </a:spcBef>
              <a:spcAft>
                <a:spcPts val="0"/>
              </a:spcAft>
              <a:buFont typeface="Arial" panose="020B0604020202020204" pitchFamily="34" charset="0"/>
              <a:buNone/>
              <a:defRPr baseline="0">
                <a:solidFill>
                  <a:schemeClr val="accent1"/>
                </a:solidFill>
                <a:latin typeface="+mn-lt"/>
              </a:defRPr>
            </a:lvl1pPr>
            <a:lvl2pPr marL="0" indent="0">
              <a:spcBef>
                <a:spcPts val="0"/>
              </a:spcBef>
              <a:spcAft>
                <a:spcPts val="0"/>
              </a:spcAft>
              <a:buNone/>
              <a:defRPr>
                <a:solidFill>
                  <a:schemeClr val="accent1"/>
                </a:solidFill>
              </a:defRPr>
            </a:lvl2pPr>
            <a:lvl3pPr marL="0" indent="0">
              <a:spcBef>
                <a:spcPts val="0"/>
              </a:spcBef>
              <a:spcAft>
                <a:spcPts val="0"/>
              </a:spcAft>
              <a:buNone/>
              <a:defRPr>
                <a:solidFill>
                  <a:schemeClr val="accent1"/>
                </a:solidFill>
              </a:defRPr>
            </a:lvl3pPr>
            <a:lvl4pPr marL="0" indent="0">
              <a:spcBef>
                <a:spcPts val="0"/>
              </a:spcBef>
              <a:spcAft>
                <a:spcPts val="0"/>
              </a:spcAft>
              <a:buNone/>
              <a:defRPr>
                <a:solidFill>
                  <a:schemeClr val="accent1"/>
                </a:solidFill>
              </a:defRPr>
            </a:lvl4pPr>
            <a:lvl5pPr marL="0" indent="0">
              <a:spcBef>
                <a:spcPts val="0"/>
              </a:spcBef>
              <a:spcAft>
                <a:spcPts val="0"/>
              </a:spcAft>
              <a:buNone/>
              <a:defRPr>
                <a:solidFill>
                  <a:schemeClr val="accent1"/>
                </a:solidFill>
              </a:defRPr>
            </a:lvl5pPr>
            <a:lvl6pPr marL="0" indent="0">
              <a:spcBef>
                <a:spcPts val="0"/>
              </a:spcBef>
              <a:spcAft>
                <a:spcPts val="0"/>
              </a:spcAft>
              <a:buNone/>
              <a:defRPr>
                <a:solidFill>
                  <a:schemeClr val="accent1"/>
                </a:solidFill>
              </a:defRPr>
            </a:lvl6pPr>
            <a:lvl7pPr marL="0" indent="0">
              <a:spcBef>
                <a:spcPts val="0"/>
              </a:spcBef>
              <a:spcAft>
                <a:spcPts val="0"/>
              </a:spcAft>
              <a:buNone/>
              <a:defRPr>
                <a:solidFill>
                  <a:schemeClr val="accent1"/>
                </a:solidFill>
              </a:defRPr>
            </a:lvl7pPr>
            <a:lvl8pPr marL="0" indent="0">
              <a:spcBef>
                <a:spcPts val="0"/>
              </a:spcBef>
              <a:spcAft>
                <a:spcPts val="0"/>
              </a:spcAft>
              <a:buNone/>
              <a:defRPr>
                <a:solidFill>
                  <a:schemeClr val="accent1"/>
                </a:solidFill>
              </a:defRPr>
            </a:lvl8pPr>
            <a:lvl9pPr marL="0" indent="0">
              <a:spcBef>
                <a:spcPts val="0"/>
              </a:spcBef>
              <a:spcAft>
                <a:spcPts val="0"/>
              </a:spcAft>
              <a:buNone/>
              <a:defRPr>
                <a:solidFill>
                  <a:schemeClr val="accent1"/>
                </a:solidFill>
              </a:defRPr>
            </a:lvl9pPr>
          </a:lstStyle>
          <a:p>
            <a:r>
              <a:rPr lang="en-US" noProof="0"/>
              <a:t>Name</a:t>
            </a:r>
          </a:p>
          <a:p>
            <a:r>
              <a:rPr lang="en-US" noProof="0"/>
              <a:t>Place, Date</a:t>
            </a:r>
          </a:p>
        </p:txBody>
      </p:sp>
      <p:sp>
        <p:nvSpPr>
          <p:cNvPr id="3" name="Subtitle 2"/>
          <p:cNvSpPr>
            <a:spLocks noGrp="1"/>
          </p:cNvSpPr>
          <p:nvPr userDrawn="1">
            <p:ph type="subTitle" idx="1" hasCustomPrompt="1"/>
          </p:nvPr>
        </p:nvSpPr>
        <p:spPr bwMode="gray">
          <a:xfrm>
            <a:off x="6096000" y="3501080"/>
            <a:ext cx="5472113" cy="648000"/>
          </a:xfrm>
          <a:prstGeom prst="rect">
            <a:avLst/>
          </a:prstGeom>
        </p:spPr>
        <p:txBody>
          <a:bodyPr>
            <a:noAutofit/>
          </a:bodyPr>
          <a:lstStyle>
            <a:lvl1pPr marL="0" indent="0" algn="l">
              <a:spcBef>
                <a:spcPts val="0"/>
              </a:spcBef>
              <a:spcAft>
                <a:spcPts val="0"/>
              </a:spcAft>
              <a:buNone/>
              <a:defRPr sz="1600" b="1" i="0" baseline="0">
                <a:solidFill>
                  <a:schemeClr val="accent1"/>
                </a:solidFill>
                <a:latin typeface="+mn-lt"/>
              </a:defRPr>
            </a:lvl1pPr>
            <a:lvl2pPr marL="0" indent="0" algn="l">
              <a:spcBef>
                <a:spcPts val="0"/>
              </a:spcBef>
              <a:spcAft>
                <a:spcPts val="0"/>
              </a:spcAft>
              <a:buNone/>
              <a:defRPr sz="1600" b="1">
                <a:solidFill>
                  <a:schemeClr val="accent1"/>
                </a:solidFill>
              </a:defRPr>
            </a:lvl2pPr>
            <a:lvl3pPr marL="0" indent="0" algn="l">
              <a:spcBef>
                <a:spcPts val="0"/>
              </a:spcBef>
              <a:spcAft>
                <a:spcPts val="0"/>
              </a:spcAft>
              <a:buNone/>
              <a:defRPr sz="1600" b="1">
                <a:solidFill>
                  <a:schemeClr val="accent1"/>
                </a:solidFill>
              </a:defRPr>
            </a:lvl3pPr>
            <a:lvl4pPr marL="0" indent="0" algn="l">
              <a:spcBef>
                <a:spcPts val="0"/>
              </a:spcBef>
              <a:spcAft>
                <a:spcPts val="0"/>
              </a:spcAft>
              <a:buNone/>
              <a:defRPr sz="1600" b="1">
                <a:solidFill>
                  <a:schemeClr val="accent1"/>
                </a:solidFill>
              </a:defRPr>
            </a:lvl4pPr>
            <a:lvl5pPr marL="0" indent="0" algn="l">
              <a:spcBef>
                <a:spcPts val="0"/>
              </a:spcBef>
              <a:spcAft>
                <a:spcPts val="0"/>
              </a:spcAft>
              <a:buNone/>
              <a:defRPr sz="1600" b="1">
                <a:solidFill>
                  <a:schemeClr val="accent1"/>
                </a:solidFill>
              </a:defRPr>
            </a:lvl5pPr>
            <a:lvl6pPr marL="0" indent="0" algn="l">
              <a:spcBef>
                <a:spcPts val="0"/>
              </a:spcBef>
              <a:spcAft>
                <a:spcPts val="0"/>
              </a:spcAft>
              <a:buNone/>
              <a:defRPr sz="1600" b="1">
                <a:solidFill>
                  <a:schemeClr val="accent1"/>
                </a:solidFill>
              </a:defRPr>
            </a:lvl6pPr>
            <a:lvl7pPr marL="0" indent="0" algn="l">
              <a:spcBef>
                <a:spcPts val="0"/>
              </a:spcBef>
              <a:spcAft>
                <a:spcPts val="0"/>
              </a:spcAft>
              <a:buNone/>
              <a:defRPr sz="1600" b="1">
                <a:solidFill>
                  <a:schemeClr val="accent1"/>
                </a:solidFill>
              </a:defRPr>
            </a:lvl7pPr>
            <a:lvl8pPr marL="0" indent="0" algn="l">
              <a:spcBef>
                <a:spcPts val="0"/>
              </a:spcBef>
              <a:spcAft>
                <a:spcPts val="0"/>
              </a:spcAft>
              <a:buNone/>
              <a:defRPr sz="1600" b="1">
                <a:solidFill>
                  <a:schemeClr val="accent1"/>
                </a:solidFill>
              </a:defRPr>
            </a:lvl8pPr>
            <a:lvl9pPr marL="0" indent="0" algn="l">
              <a:spcBef>
                <a:spcPts val="0"/>
              </a:spcBef>
              <a:spcAft>
                <a:spcPts val="0"/>
              </a:spcAft>
              <a:buNone/>
              <a:defRPr sz="1600" b="1">
                <a:solidFill>
                  <a:schemeClr val="accent1"/>
                </a:solidFill>
              </a:defRPr>
            </a:lvl9pPr>
          </a:lstStyle>
          <a:p>
            <a:r>
              <a:rPr lang="en-US" noProof="0"/>
              <a:t>Subtitle and other information of this presentation</a:t>
            </a:r>
          </a:p>
        </p:txBody>
      </p:sp>
      <p:sp>
        <p:nvSpPr>
          <p:cNvPr id="2" name="Title 1"/>
          <p:cNvSpPr>
            <a:spLocks noGrp="1"/>
          </p:cNvSpPr>
          <p:nvPr userDrawn="1">
            <p:ph type="ctrTitle" hasCustomPrompt="1"/>
          </p:nvPr>
        </p:nvSpPr>
        <p:spPr bwMode="gray">
          <a:xfrm>
            <a:off x="6096000" y="2107718"/>
            <a:ext cx="5472113" cy="1249282"/>
          </a:xfrm>
          <a:prstGeom prst="rect">
            <a:avLst/>
          </a:prstGeom>
          <a:noFill/>
        </p:spPr>
        <p:txBody>
          <a:bodyPr anchor="b"/>
          <a:lstStyle>
            <a:lvl1pPr algn="l">
              <a:lnSpc>
                <a:spcPct val="100000"/>
              </a:lnSpc>
              <a:defRPr sz="4000" cap="none" baseline="0">
                <a:latin typeface="Merck" panose="04040805020F02020302" pitchFamily="82" charset="0"/>
                <a:ea typeface="Verdana" panose="020B0604030504040204" pitchFamily="34" charset="0"/>
                <a:cs typeface="Verdana" panose="020B0604030504040204" pitchFamily="34" charset="0"/>
              </a:defRPr>
            </a:lvl1pPr>
          </a:lstStyle>
          <a:p>
            <a:r>
              <a:rPr lang="en-US" noProof="0"/>
              <a:t>Title of presentation</a:t>
            </a:r>
          </a:p>
        </p:txBody>
      </p:sp>
      <p:pic>
        <p:nvPicPr>
          <p:cNvPr id="4" name="Grafik 3"/>
          <p:cNvPicPr>
            <a:picLocks noChangeAspect="1"/>
          </p:cNvPicPr>
          <p:nvPr userDrawn="1"/>
        </p:nvPicPr>
        <p:blipFill>
          <a:blip r:embed="rId5"/>
          <a:stretch>
            <a:fillRect/>
          </a:stretch>
        </p:blipFill>
        <p:spPr bwMode="gray">
          <a:xfrm>
            <a:off x="1271744" y="5271077"/>
            <a:ext cx="2520000" cy="1254267"/>
          </a:xfrm>
          <a:prstGeom prst="rect">
            <a:avLst/>
          </a:prstGeom>
        </p:spPr>
      </p:pic>
      <p:grpSp>
        <p:nvGrpSpPr>
          <p:cNvPr id="19" name="Logo Merck"/>
          <p:cNvGrpSpPr>
            <a:grpSpLocks noChangeAspect="1"/>
          </p:cNvGrpSpPr>
          <p:nvPr userDrawn="1"/>
        </p:nvGrpSpPr>
        <p:grpSpPr bwMode="gray">
          <a:xfrm>
            <a:off x="9536024" y="6170950"/>
            <a:ext cx="2248608" cy="354050"/>
            <a:chOff x="396364" y="7173520"/>
            <a:chExt cx="1871956" cy="294745"/>
          </a:xfrm>
          <a:solidFill>
            <a:schemeClr val="accent5"/>
          </a:solidFill>
        </p:grpSpPr>
        <p:sp>
          <p:nvSpPr>
            <p:cNvPr id="20" name="Freeform 5"/>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4534885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rganic |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Rectangle 17"/>
          <p:cNvSpPr/>
          <p:nvPr userDrawn="1"/>
        </p:nvSpPr>
        <p:spPr bwMode="gray">
          <a:xfrm>
            <a:off x="1" y="0"/>
            <a:ext cx="12192000" cy="6858001"/>
          </a:xfrm>
          <a:prstGeom prst="rect">
            <a:avLst/>
          </a:prstGeom>
          <a:solidFill>
            <a:schemeClr val="bg2"/>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a:endParaRPr>
          </a:p>
        </p:txBody>
      </p:sp>
      <p:sp>
        <p:nvSpPr>
          <p:cNvPr id="13" name="Freeform 12"/>
          <p:cNvSpPr/>
          <p:nvPr userDrawn="1"/>
        </p:nvSpPr>
        <p:spPr bwMode="gray">
          <a:xfrm>
            <a:off x="0" y="0"/>
            <a:ext cx="7668866" cy="6858000"/>
          </a:xfrm>
          <a:custGeom>
            <a:avLst/>
            <a:gdLst>
              <a:gd name="connsiteX0" fmla="*/ 0 w 7668866"/>
              <a:gd name="connsiteY0" fmla="*/ 6118796 h 6858000"/>
              <a:gd name="connsiteX1" fmla="*/ 169917 w 7668866"/>
              <a:gd name="connsiteY1" fmla="*/ 6182092 h 6858000"/>
              <a:gd name="connsiteX2" fmla="*/ 2255428 w 7668866"/>
              <a:gd name="connsiteY2" fmla="*/ 6838640 h 6858000"/>
              <a:gd name="connsiteX3" fmla="*/ 2315677 w 7668866"/>
              <a:gd name="connsiteY3" fmla="*/ 6858000 h 6858000"/>
              <a:gd name="connsiteX4" fmla="*/ 0 w 7668866"/>
              <a:gd name="connsiteY4" fmla="*/ 6858000 h 6858000"/>
              <a:gd name="connsiteX5" fmla="*/ 3581596 w 7668866"/>
              <a:gd name="connsiteY5" fmla="*/ 0 h 6858000"/>
              <a:gd name="connsiteX6" fmla="*/ 4015128 w 7668866"/>
              <a:gd name="connsiteY6" fmla="*/ 0 h 6858000"/>
              <a:gd name="connsiteX7" fmla="*/ 4167882 w 7668866"/>
              <a:gd name="connsiteY7" fmla="*/ 298486 h 6858000"/>
              <a:gd name="connsiteX8" fmla="*/ 6467174 w 7668866"/>
              <a:gd name="connsiteY8" fmla="*/ 3012758 h 6858000"/>
              <a:gd name="connsiteX9" fmla="*/ 7668866 w 7668866"/>
              <a:gd name="connsiteY9" fmla="*/ 3005248 h 6858000"/>
              <a:gd name="connsiteX10" fmla="*/ 7668866 w 7668866"/>
              <a:gd name="connsiteY10" fmla="*/ 3200516 h 6858000"/>
              <a:gd name="connsiteX11" fmla="*/ 7514899 w 7668866"/>
              <a:gd name="connsiteY11" fmla="*/ 3193006 h 6858000"/>
              <a:gd name="connsiteX12" fmla="*/ 6598609 w 7668866"/>
              <a:gd name="connsiteY12" fmla="*/ 3211781 h 6858000"/>
              <a:gd name="connsiteX13" fmla="*/ 5776201 w 7668866"/>
              <a:gd name="connsiteY13" fmla="*/ 4661271 h 6858000"/>
              <a:gd name="connsiteX14" fmla="*/ 6369537 w 7668866"/>
              <a:gd name="connsiteY14" fmla="*/ 5618835 h 6858000"/>
              <a:gd name="connsiteX15" fmla="*/ 7668866 w 7668866"/>
              <a:gd name="connsiteY15" fmla="*/ 6095740 h 6858000"/>
              <a:gd name="connsiteX16" fmla="*/ 7668866 w 7668866"/>
              <a:gd name="connsiteY16" fmla="*/ 6730361 h 6858000"/>
              <a:gd name="connsiteX17" fmla="*/ 7478585 w 7668866"/>
              <a:gd name="connsiteY17" fmla="*/ 6858000 h 6858000"/>
              <a:gd name="connsiteX18" fmla="*/ 5290708 w 7668866"/>
              <a:gd name="connsiteY18" fmla="*/ 6858000 h 6858000"/>
              <a:gd name="connsiteX19" fmla="*/ 5386062 w 7668866"/>
              <a:gd name="connsiteY19" fmla="*/ 6791676 h 6858000"/>
              <a:gd name="connsiteX20" fmla="*/ 6155486 w 7668866"/>
              <a:gd name="connsiteY20" fmla="*/ 5618835 h 6858000"/>
              <a:gd name="connsiteX21" fmla="*/ 5749914 w 7668866"/>
              <a:gd name="connsiteY21" fmla="*/ 4845274 h 6858000"/>
              <a:gd name="connsiteX22" fmla="*/ 5205398 w 7668866"/>
              <a:gd name="connsiteY22" fmla="*/ 4278245 h 6858000"/>
              <a:gd name="connsiteX23" fmla="*/ 2982268 w 7668866"/>
              <a:gd name="connsiteY23" fmla="*/ 3902730 h 6858000"/>
              <a:gd name="connsiteX24" fmla="*/ 669011 w 7668866"/>
              <a:gd name="connsiteY24" fmla="*/ 4101753 h 6858000"/>
              <a:gd name="connsiteX25" fmla="*/ 96300 w 7668866"/>
              <a:gd name="connsiteY25" fmla="*/ 4174560 h 6858000"/>
              <a:gd name="connsiteX26" fmla="*/ 0 w 7668866"/>
              <a:gd name="connsiteY26" fmla="*/ 4192923 h 6858000"/>
              <a:gd name="connsiteX27" fmla="*/ 0 w 7668866"/>
              <a:gd name="connsiteY27" fmla="*/ 3924438 h 6858000"/>
              <a:gd name="connsiteX28" fmla="*/ 292367 w 7668866"/>
              <a:gd name="connsiteY28" fmla="*/ 3925789 h 6858000"/>
              <a:gd name="connsiteX29" fmla="*/ 710319 w 7668866"/>
              <a:gd name="connsiteY29" fmla="*/ 3913995 h 6858000"/>
              <a:gd name="connsiteX30" fmla="*/ 2997289 w 7668866"/>
              <a:gd name="connsiteY30" fmla="*/ 3726238 h 6858000"/>
              <a:gd name="connsiteX31" fmla="*/ 3800920 w 7668866"/>
              <a:gd name="connsiteY31" fmla="*/ 2167848 h 6858000"/>
              <a:gd name="connsiteX32" fmla="*/ 2978512 w 7668866"/>
              <a:gd name="connsiteY32" fmla="*/ 1274122 h 6858000"/>
              <a:gd name="connsiteX33" fmla="*/ 163925 w 7668866"/>
              <a:gd name="connsiteY33" fmla="*/ 873259 h 6858000"/>
              <a:gd name="connsiteX34" fmla="*/ 0 w 7668866"/>
              <a:gd name="connsiteY34" fmla="*/ 900488 h 6858000"/>
              <a:gd name="connsiteX35" fmla="*/ 0 w 7668866"/>
              <a:gd name="connsiteY35" fmla="*/ 135524 h 6858000"/>
              <a:gd name="connsiteX36" fmla="*/ 910757 w 7668866"/>
              <a:gd name="connsiteY36" fmla="*/ 423110 h 6858000"/>
              <a:gd name="connsiteX37" fmla="*/ 2802014 w 7668866"/>
              <a:gd name="connsiteY37" fmla="*/ 999995 h 6858000"/>
              <a:gd name="connsiteX38" fmla="*/ 3586869 w 7668866"/>
              <a:gd name="connsiteY38" fmla="*/ 2365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7668866" h="6858000">
                <a:moveTo>
                  <a:pt x="0" y="6118796"/>
                </a:moveTo>
                <a:lnTo>
                  <a:pt x="169917" y="6182092"/>
                </a:lnTo>
                <a:cubicBezTo>
                  <a:pt x="653385" y="6353440"/>
                  <a:pt x="1331769" y="6543923"/>
                  <a:pt x="2255428" y="6838640"/>
                </a:cubicBezTo>
                <a:lnTo>
                  <a:pt x="2315677" y="6858000"/>
                </a:lnTo>
                <a:lnTo>
                  <a:pt x="0" y="6858000"/>
                </a:lnTo>
                <a:close/>
                <a:moveTo>
                  <a:pt x="3581596" y="0"/>
                </a:moveTo>
                <a:lnTo>
                  <a:pt x="4015128" y="0"/>
                </a:lnTo>
                <a:lnTo>
                  <a:pt x="4167882" y="298486"/>
                </a:lnTo>
                <a:cubicBezTo>
                  <a:pt x="4826583" y="1560217"/>
                  <a:pt x="5678564" y="2874756"/>
                  <a:pt x="6467174" y="3012758"/>
                </a:cubicBezTo>
                <a:cubicBezTo>
                  <a:pt x="6673715" y="3050310"/>
                  <a:pt x="7285827" y="3027779"/>
                  <a:pt x="7668866" y="3005248"/>
                </a:cubicBezTo>
                <a:cubicBezTo>
                  <a:pt x="7668866" y="3005248"/>
                  <a:pt x="7668866" y="3005248"/>
                  <a:pt x="7668866" y="3200516"/>
                </a:cubicBezTo>
                <a:cubicBezTo>
                  <a:pt x="7620047" y="3196761"/>
                  <a:pt x="7567473" y="3193006"/>
                  <a:pt x="7514899" y="3193006"/>
                </a:cubicBezTo>
                <a:cubicBezTo>
                  <a:pt x="7345912" y="3193006"/>
                  <a:pt x="6733800" y="3196761"/>
                  <a:pt x="6598609" y="3211781"/>
                </a:cubicBezTo>
                <a:cubicBezTo>
                  <a:pt x="6061603" y="3275619"/>
                  <a:pt x="5333078" y="3827627"/>
                  <a:pt x="5776201" y="4661271"/>
                </a:cubicBezTo>
                <a:cubicBezTo>
                  <a:pt x="5840041" y="4777681"/>
                  <a:pt x="6279410" y="5498671"/>
                  <a:pt x="6369537" y="5618835"/>
                </a:cubicBezTo>
                <a:cubicBezTo>
                  <a:pt x="6531014" y="5832879"/>
                  <a:pt x="7109328" y="6065699"/>
                  <a:pt x="7668866" y="6095740"/>
                </a:cubicBezTo>
                <a:cubicBezTo>
                  <a:pt x="7668866" y="6095740"/>
                  <a:pt x="7668866" y="6095740"/>
                  <a:pt x="7668866" y="6730361"/>
                </a:cubicBezTo>
                <a:lnTo>
                  <a:pt x="7478585" y="6858000"/>
                </a:lnTo>
                <a:lnTo>
                  <a:pt x="5290708" y="6858000"/>
                </a:lnTo>
                <a:lnTo>
                  <a:pt x="5386062" y="6791676"/>
                </a:lnTo>
                <a:cubicBezTo>
                  <a:pt x="5840041" y="6471490"/>
                  <a:pt x="6251245" y="6128598"/>
                  <a:pt x="6155486" y="5618835"/>
                </a:cubicBezTo>
                <a:cubicBezTo>
                  <a:pt x="6132954" y="5498671"/>
                  <a:pt x="5813754" y="4954173"/>
                  <a:pt x="5749914" y="4845274"/>
                </a:cubicBezTo>
                <a:cubicBezTo>
                  <a:pt x="5663543" y="4691312"/>
                  <a:pt x="5487044" y="4424696"/>
                  <a:pt x="5205398" y="4278245"/>
                </a:cubicBezTo>
                <a:cubicBezTo>
                  <a:pt x="4582020" y="3962812"/>
                  <a:pt x="3917334" y="3835137"/>
                  <a:pt x="2982268" y="3902730"/>
                </a:cubicBezTo>
                <a:cubicBezTo>
                  <a:pt x="2426485" y="3944037"/>
                  <a:pt x="1367494" y="4037915"/>
                  <a:pt x="669011" y="4101753"/>
                </a:cubicBezTo>
                <a:cubicBezTo>
                  <a:pt x="508472" y="4117243"/>
                  <a:pt x="303574" y="4139598"/>
                  <a:pt x="96300" y="4174560"/>
                </a:cubicBezTo>
                <a:lnTo>
                  <a:pt x="0" y="4192923"/>
                </a:lnTo>
                <a:lnTo>
                  <a:pt x="0" y="3924438"/>
                </a:lnTo>
                <a:lnTo>
                  <a:pt x="292367" y="3925789"/>
                </a:lnTo>
                <a:cubicBezTo>
                  <a:pt x="431958" y="3924322"/>
                  <a:pt x="571373" y="3920567"/>
                  <a:pt x="710319" y="3913995"/>
                </a:cubicBezTo>
                <a:cubicBezTo>
                  <a:pt x="999476" y="3898975"/>
                  <a:pt x="2670579" y="3756279"/>
                  <a:pt x="2997289" y="3726238"/>
                </a:cubicBezTo>
                <a:cubicBezTo>
                  <a:pt x="3759612" y="3651135"/>
                  <a:pt x="3977419" y="2689815"/>
                  <a:pt x="3800920" y="2167848"/>
                </a:cubicBezTo>
                <a:cubicBezTo>
                  <a:pt x="3639443" y="1698454"/>
                  <a:pt x="3504253" y="1409307"/>
                  <a:pt x="2978512" y="1274122"/>
                </a:cubicBezTo>
                <a:cubicBezTo>
                  <a:pt x="1536482" y="909872"/>
                  <a:pt x="709380" y="808482"/>
                  <a:pt x="163925" y="873259"/>
                </a:cubicBezTo>
                <a:lnTo>
                  <a:pt x="0" y="900488"/>
                </a:lnTo>
                <a:lnTo>
                  <a:pt x="0" y="135524"/>
                </a:lnTo>
                <a:lnTo>
                  <a:pt x="910757" y="423110"/>
                </a:lnTo>
                <a:cubicBezTo>
                  <a:pt x="1537421" y="618847"/>
                  <a:pt x="2167370" y="812238"/>
                  <a:pt x="2802014" y="999995"/>
                </a:cubicBezTo>
                <a:cubicBezTo>
                  <a:pt x="3737081" y="1274122"/>
                  <a:pt x="3699528" y="616970"/>
                  <a:pt x="3586869" y="23655"/>
                </a:cubicBez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4" name="Freeform 13"/>
          <p:cNvSpPr/>
          <p:nvPr userDrawn="1"/>
        </p:nvSpPr>
        <p:spPr bwMode="gray">
          <a:xfrm>
            <a:off x="-1" y="-1"/>
            <a:ext cx="12192000" cy="6858001"/>
          </a:xfrm>
          <a:custGeom>
            <a:avLst/>
            <a:gdLst>
              <a:gd name="connsiteX0" fmla="*/ 2376294 w 12192000"/>
              <a:gd name="connsiteY0" fmla="*/ 0 h 6858000"/>
              <a:gd name="connsiteX1" fmla="*/ 2892698 w 12192000"/>
              <a:gd name="connsiteY1" fmla="*/ 0 h 6858000"/>
              <a:gd name="connsiteX2" fmla="*/ 2891112 w 12192000"/>
              <a:gd name="connsiteY2" fmla="*/ 25388 h 6858000"/>
              <a:gd name="connsiteX3" fmla="*/ 3097511 w 12192000"/>
              <a:gd name="connsiteY3" fmla="*/ 567520 h 6858000"/>
              <a:gd name="connsiteX4" fmla="*/ 5003886 w 12192000"/>
              <a:gd name="connsiteY4" fmla="*/ 1145793 h 6858000"/>
              <a:gd name="connsiteX5" fmla="*/ 7398113 w 12192000"/>
              <a:gd name="connsiteY5" fmla="*/ 650130 h 6858000"/>
              <a:gd name="connsiteX6" fmla="*/ 7738316 w 12192000"/>
              <a:gd name="connsiteY6" fmla="*/ 36515 h 6858000"/>
              <a:gd name="connsiteX7" fmla="*/ 7715084 w 12192000"/>
              <a:gd name="connsiteY7" fmla="*/ 0 h 6858000"/>
              <a:gd name="connsiteX8" fmla="*/ 12192000 w 12192000"/>
              <a:gd name="connsiteY8" fmla="*/ 0 h 6858000"/>
              <a:gd name="connsiteX9" fmla="*/ 12192000 w 12192000"/>
              <a:gd name="connsiteY9" fmla="*/ 6858000 h 6858000"/>
              <a:gd name="connsiteX10" fmla="*/ 0 w 12192000"/>
              <a:gd name="connsiteY10" fmla="*/ 6858000 h 6858000"/>
              <a:gd name="connsiteX11" fmla="*/ 0 w 12192000"/>
              <a:gd name="connsiteY11" fmla="*/ 4710669 h 6858000"/>
              <a:gd name="connsiteX12" fmla="*/ 108070 w 12192000"/>
              <a:gd name="connsiteY12" fmla="*/ 4629515 h 6858000"/>
              <a:gd name="connsiteX13" fmla="*/ 538165 w 12192000"/>
              <a:gd name="connsiteY13" fmla="*/ 3421336 h 6858000"/>
              <a:gd name="connsiteX14" fmla="*/ 74237 w 12192000"/>
              <a:gd name="connsiteY14" fmla="*/ 2357257 h 6858000"/>
              <a:gd name="connsiteX15" fmla="*/ 0 w 12192000"/>
              <a:gd name="connsiteY15" fmla="*/ 2257472 h 6858000"/>
              <a:gd name="connsiteX16" fmla="*/ 0 w 12192000"/>
              <a:gd name="connsiteY16" fmla="*/ 667182 h 6858000"/>
              <a:gd name="connsiteX17" fmla="*/ 24044 w 12192000"/>
              <a:gd name="connsiteY17" fmla="*/ 683925 h 6858000"/>
              <a:gd name="connsiteX18" fmla="*/ 1502611 w 12192000"/>
              <a:gd name="connsiteY18" fmla="*/ 1479990 h 6858000"/>
              <a:gd name="connsiteX19" fmla="*/ 2500831 w 12192000"/>
              <a:gd name="connsiteY19" fmla="*/ 1303504 h 6858000"/>
              <a:gd name="connsiteX20" fmla="*/ 2654692 w 12192000"/>
              <a:gd name="connsiteY20" fmla="*/ 376014 h 6858000"/>
              <a:gd name="connsiteX21" fmla="*/ 2507926 w 12192000"/>
              <a:gd name="connsiteY21" fmla="*/ 17529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92000" h="6858000">
                <a:moveTo>
                  <a:pt x="2376294" y="0"/>
                </a:moveTo>
                <a:lnTo>
                  <a:pt x="2892698" y="0"/>
                </a:lnTo>
                <a:lnTo>
                  <a:pt x="2891112" y="25388"/>
                </a:lnTo>
                <a:cubicBezTo>
                  <a:pt x="2895803" y="224874"/>
                  <a:pt x="2968043" y="422951"/>
                  <a:pt x="3097511" y="567520"/>
                </a:cubicBezTo>
                <a:cubicBezTo>
                  <a:pt x="3581610" y="1104488"/>
                  <a:pt x="4362173" y="1164568"/>
                  <a:pt x="5003886" y="1145793"/>
                </a:cubicBezTo>
                <a:cubicBezTo>
                  <a:pt x="5701890" y="1123263"/>
                  <a:pt x="6797680" y="1081958"/>
                  <a:pt x="7398113" y="650130"/>
                </a:cubicBezTo>
                <a:cubicBezTo>
                  <a:pt x="7738202" y="404880"/>
                  <a:pt x="7811864" y="202901"/>
                  <a:pt x="7738316" y="36515"/>
                </a:cubicBezTo>
                <a:lnTo>
                  <a:pt x="7715084" y="0"/>
                </a:lnTo>
                <a:lnTo>
                  <a:pt x="12192000" y="0"/>
                </a:lnTo>
                <a:lnTo>
                  <a:pt x="12192000" y="6858000"/>
                </a:lnTo>
                <a:lnTo>
                  <a:pt x="0" y="6858000"/>
                </a:lnTo>
                <a:lnTo>
                  <a:pt x="0" y="4710669"/>
                </a:lnTo>
                <a:lnTo>
                  <a:pt x="108070" y="4629515"/>
                </a:lnTo>
                <a:cubicBezTo>
                  <a:pt x="459358" y="4359857"/>
                  <a:pt x="743626" y="4069077"/>
                  <a:pt x="538165" y="3421336"/>
                </a:cubicBezTo>
                <a:cubicBezTo>
                  <a:pt x="393686" y="2966979"/>
                  <a:pt x="262341" y="2640292"/>
                  <a:pt x="74237" y="2357257"/>
                </a:cubicBezTo>
                <a:lnTo>
                  <a:pt x="0" y="2257472"/>
                </a:lnTo>
                <a:lnTo>
                  <a:pt x="0" y="667182"/>
                </a:lnTo>
                <a:lnTo>
                  <a:pt x="24044" y="683925"/>
                </a:lnTo>
                <a:cubicBezTo>
                  <a:pt x="485627" y="984327"/>
                  <a:pt x="995996" y="1344809"/>
                  <a:pt x="1502611" y="1479990"/>
                </a:cubicBezTo>
                <a:cubicBezTo>
                  <a:pt x="1814086" y="1562601"/>
                  <a:pt x="2200614" y="1427420"/>
                  <a:pt x="2500831" y="1303504"/>
                </a:cubicBezTo>
                <a:cubicBezTo>
                  <a:pt x="2962414" y="1111998"/>
                  <a:pt x="2891112" y="710211"/>
                  <a:pt x="2654692" y="376014"/>
                </a:cubicBezTo>
                <a:cubicBezTo>
                  <a:pt x="2606845" y="310301"/>
                  <a:pt x="2557825" y="242945"/>
                  <a:pt x="2507926" y="175296"/>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5" name="Picture Placeholder 45"/>
          <p:cNvSpPr>
            <a:spLocks noGrp="1"/>
          </p:cNvSpPr>
          <p:nvPr>
            <p:ph type="pic" sz="quarter" idx="19"/>
          </p:nvPr>
        </p:nvSpPr>
        <p:spPr bwMode="gray">
          <a:xfrm>
            <a:off x="700812" y="1282237"/>
            <a:ext cx="5182809" cy="4539274"/>
          </a:xfrm>
          <a:custGeom>
            <a:avLst/>
            <a:gdLst>
              <a:gd name="connsiteX0" fmla="*/ 3144164 w 5182809"/>
              <a:gd name="connsiteY0" fmla="*/ 0 h 4539274"/>
              <a:gd name="connsiteX1" fmla="*/ 3986889 w 5182809"/>
              <a:gd name="connsiteY1" fmla="*/ 181304 h 4539274"/>
              <a:gd name="connsiteX2" fmla="*/ 4723453 w 5182809"/>
              <a:gd name="connsiteY2" fmla="*/ 3961442 h 4539274"/>
              <a:gd name="connsiteX3" fmla="*/ 2712936 w 5182809"/>
              <a:gd name="connsiteY3" fmla="*/ 4476232 h 4539274"/>
              <a:gd name="connsiteX4" fmla="*/ 446877 w 5182809"/>
              <a:gd name="connsiteY4" fmla="*/ 3157317 h 4539274"/>
              <a:gd name="connsiteX5" fmla="*/ 785095 w 5182809"/>
              <a:gd name="connsiteY5" fmla="*/ 639730 h 4539274"/>
              <a:gd name="connsiteX6" fmla="*/ 2284527 w 5182809"/>
              <a:gd name="connsiteY6" fmla="*/ 106152 h 4539274"/>
              <a:gd name="connsiteX7" fmla="*/ 3144164 w 5182809"/>
              <a:gd name="connsiteY7" fmla="*/ 0 h 4539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82809" h="4539274">
                <a:moveTo>
                  <a:pt x="3144164" y="0"/>
                </a:moveTo>
                <a:cubicBezTo>
                  <a:pt x="3441983" y="0"/>
                  <a:pt x="3736984" y="47910"/>
                  <a:pt x="3986889" y="181304"/>
                </a:cubicBezTo>
                <a:cubicBezTo>
                  <a:pt x="5302181" y="887732"/>
                  <a:pt x="5508869" y="2781558"/>
                  <a:pt x="4723453" y="3961442"/>
                </a:cubicBezTo>
                <a:cubicBezTo>
                  <a:pt x="4257464" y="4585202"/>
                  <a:pt x="3381855" y="4603990"/>
                  <a:pt x="2712936" y="4476232"/>
                </a:cubicBezTo>
                <a:cubicBezTo>
                  <a:pt x="1856118" y="4310898"/>
                  <a:pt x="1093249" y="3747259"/>
                  <a:pt x="446877" y="3157317"/>
                </a:cubicBezTo>
                <a:cubicBezTo>
                  <a:pt x="-293444" y="2477193"/>
                  <a:pt x="-67965" y="1109429"/>
                  <a:pt x="785095" y="639730"/>
                </a:cubicBezTo>
                <a:cubicBezTo>
                  <a:pt x="1251084" y="380457"/>
                  <a:pt x="1773442" y="222638"/>
                  <a:pt x="2284527" y="106152"/>
                </a:cubicBezTo>
                <a:cubicBezTo>
                  <a:pt x="2545706" y="47910"/>
                  <a:pt x="2846344" y="0"/>
                  <a:pt x="3144164" y="0"/>
                </a:cubicBezTo>
                <a:close/>
              </a:path>
            </a:pathLst>
          </a:custGeom>
          <a:solidFill>
            <a:schemeClr val="bg2"/>
          </a:solidFill>
        </p:spPr>
        <p:txBody>
          <a:bodyPr wrap="square" tIns="684000" anchor="ctr">
            <a:noAutofit/>
          </a:bodyPr>
          <a:lstStyle>
            <a:lvl1pPr algn="ctr">
              <a:spcBef>
                <a:spcPts val="0"/>
              </a:spcBef>
              <a:spcAft>
                <a:spcPts val="0"/>
              </a:spcAft>
              <a:defRPr sz="1000">
                <a:solidFill>
                  <a:schemeClr val="bg1"/>
                </a:solidFill>
              </a:defRPr>
            </a:lvl1pPr>
          </a:lstStyle>
          <a:p>
            <a:r>
              <a:rPr lang="en-US" noProof="0"/>
              <a:t>Click icon to add picture</a:t>
            </a:r>
          </a:p>
        </p:txBody>
      </p:sp>
      <p:sp>
        <p:nvSpPr>
          <p:cNvPr id="22" name="Text Placeholder 6"/>
          <p:cNvSpPr>
            <a:spLocks noGrp="1"/>
          </p:cNvSpPr>
          <p:nvPr>
            <p:ph type="body" sz="quarter" idx="18" hasCustomPrompt="1"/>
          </p:nvPr>
        </p:nvSpPr>
        <p:spPr bwMode="gray">
          <a:xfrm>
            <a:off x="336000" y="5085000"/>
            <a:ext cx="2880000" cy="1458000"/>
          </a:xfrm>
          <a:prstGeom prst="rect">
            <a:avLst/>
          </a:prstGeom>
          <a:blipFill dpi="0" rotWithShape="1">
            <a:blip r:embed="rId5" cstate="print">
              <a:extLst>
                <a:ext uri="{28A0092B-C50C-407E-A947-70E740481C1C}">
                  <a14:useLocalDpi xmlns:a14="http://schemas.microsoft.com/office/drawing/2010/main" val="0"/>
                </a:ext>
              </a:extLst>
            </a:blip>
            <a:srcRect/>
            <a:stretch>
              <a:fillRect/>
            </a:stretch>
          </a:blipFill>
        </p:spPr>
        <p:txBody>
          <a:bodyPr/>
          <a:lstStyle>
            <a:lvl1pPr>
              <a:defRPr/>
            </a:lvl1pPr>
          </a:lstStyle>
          <a:p>
            <a:pPr lvl="0"/>
            <a:r>
              <a:rPr lang="en-US"/>
              <a:t> </a:t>
            </a:r>
          </a:p>
        </p:txBody>
      </p:sp>
      <p:sp>
        <p:nvSpPr>
          <p:cNvPr id="7" name="Text Placeholder 12"/>
          <p:cNvSpPr>
            <a:spLocks noGrp="1"/>
          </p:cNvSpPr>
          <p:nvPr>
            <p:ph type="body" sz="quarter" idx="10" hasCustomPrompt="1"/>
          </p:nvPr>
        </p:nvSpPr>
        <p:spPr bwMode="gray">
          <a:xfrm>
            <a:off x="6240542" y="4364905"/>
            <a:ext cx="5327542" cy="576263"/>
          </a:xfrm>
          <a:prstGeom prst="rect">
            <a:avLst/>
          </a:prstGeom>
        </p:spPr>
        <p:txBody>
          <a:bodyPr>
            <a:noAutofit/>
          </a:bodyPr>
          <a:lstStyle>
            <a:lvl1pPr marL="0" indent="0">
              <a:spcBef>
                <a:spcPts val="0"/>
              </a:spcBef>
              <a:spcAft>
                <a:spcPts val="0"/>
              </a:spcAft>
              <a:buFont typeface="Arial" panose="020B0604020202020204" pitchFamily="34" charset="0"/>
              <a:buNone/>
              <a:defRPr sz="1600" b="0" baseline="0">
                <a:solidFill>
                  <a:schemeClr val="accent4"/>
                </a:solidFill>
                <a:latin typeface="+mj-lt"/>
              </a:defRPr>
            </a:lvl1pPr>
            <a:lvl2pPr marL="0" indent="0">
              <a:spcBef>
                <a:spcPts val="0"/>
              </a:spcBef>
              <a:spcAft>
                <a:spcPts val="0"/>
              </a:spcAft>
              <a:buNone/>
              <a:defRPr sz="1600" b="0">
                <a:solidFill>
                  <a:schemeClr val="accent4"/>
                </a:solidFill>
              </a:defRPr>
            </a:lvl2pPr>
            <a:lvl3pPr marL="0" indent="0">
              <a:spcBef>
                <a:spcPts val="0"/>
              </a:spcBef>
              <a:spcAft>
                <a:spcPts val="0"/>
              </a:spcAft>
              <a:buNone/>
              <a:defRPr sz="1600" b="0">
                <a:solidFill>
                  <a:schemeClr val="accent4"/>
                </a:solidFill>
              </a:defRPr>
            </a:lvl3pPr>
            <a:lvl4pPr marL="0" indent="0">
              <a:spcBef>
                <a:spcPts val="0"/>
              </a:spcBef>
              <a:spcAft>
                <a:spcPts val="0"/>
              </a:spcAft>
              <a:buNone/>
              <a:defRPr sz="1600" b="0">
                <a:solidFill>
                  <a:schemeClr val="accent4"/>
                </a:solidFill>
              </a:defRPr>
            </a:lvl4pPr>
            <a:lvl5pPr marL="0" indent="0">
              <a:spcBef>
                <a:spcPts val="0"/>
              </a:spcBef>
              <a:spcAft>
                <a:spcPts val="0"/>
              </a:spcAft>
              <a:buNone/>
              <a:defRPr sz="1600" b="0">
                <a:solidFill>
                  <a:schemeClr val="accent4"/>
                </a:solidFill>
              </a:defRPr>
            </a:lvl5pPr>
            <a:lvl6pPr marL="0" indent="0">
              <a:spcBef>
                <a:spcPts val="0"/>
              </a:spcBef>
              <a:spcAft>
                <a:spcPts val="0"/>
              </a:spcAft>
              <a:buNone/>
              <a:defRPr sz="1600" b="0">
                <a:solidFill>
                  <a:schemeClr val="accent4"/>
                </a:solidFill>
              </a:defRPr>
            </a:lvl6pPr>
            <a:lvl7pPr marL="0" indent="0">
              <a:spcBef>
                <a:spcPts val="0"/>
              </a:spcBef>
              <a:spcAft>
                <a:spcPts val="0"/>
              </a:spcAft>
              <a:buNone/>
              <a:defRPr sz="1600" b="0">
                <a:solidFill>
                  <a:schemeClr val="accent4"/>
                </a:solidFill>
              </a:defRPr>
            </a:lvl7pPr>
            <a:lvl8pPr marL="0" indent="0">
              <a:spcBef>
                <a:spcPts val="0"/>
              </a:spcBef>
              <a:spcAft>
                <a:spcPts val="0"/>
              </a:spcAft>
              <a:buNone/>
              <a:defRPr sz="1600" b="0">
                <a:solidFill>
                  <a:schemeClr val="accent4"/>
                </a:solidFill>
              </a:defRPr>
            </a:lvl8pPr>
            <a:lvl9pPr marL="0" indent="0">
              <a:spcBef>
                <a:spcPts val="0"/>
              </a:spcBef>
              <a:spcAft>
                <a:spcPts val="0"/>
              </a:spcAft>
              <a:buNone/>
              <a:defRPr sz="1600" b="0">
                <a:solidFill>
                  <a:schemeClr val="accent4"/>
                </a:solidFill>
              </a:defRPr>
            </a:lvl9pPr>
          </a:lstStyle>
          <a:p>
            <a:pPr lvl="0"/>
            <a:r>
              <a:rPr lang="en-US" noProof="0"/>
              <a:t>Name</a:t>
            </a:r>
            <a:br>
              <a:rPr lang="en-US" noProof="0"/>
            </a:br>
            <a:r>
              <a:rPr lang="en-US" noProof="0"/>
              <a:t>Place, Date</a:t>
            </a:r>
          </a:p>
        </p:txBody>
      </p:sp>
      <p:sp>
        <p:nvSpPr>
          <p:cNvPr id="3" name="Subtitle 2"/>
          <p:cNvSpPr>
            <a:spLocks noGrp="1"/>
          </p:cNvSpPr>
          <p:nvPr>
            <p:ph type="subTitle" idx="1" hasCustomPrompt="1"/>
          </p:nvPr>
        </p:nvSpPr>
        <p:spPr bwMode="gray">
          <a:xfrm>
            <a:off x="6240922" y="3573087"/>
            <a:ext cx="5327192" cy="648000"/>
          </a:xfrm>
          <a:prstGeom prst="rect">
            <a:avLst/>
          </a:prstGeom>
        </p:spPr>
        <p:txBody>
          <a:bodyPr>
            <a:noAutofit/>
          </a:bodyPr>
          <a:lstStyle>
            <a:lvl1pPr marL="0" indent="0" algn="l">
              <a:spcBef>
                <a:spcPts val="0"/>
              </a:spcBef>
              <a:spcAft>
                <a:spcPts val="1200"/>
              </a:spcAft>
              <a:buNone/>
              <a:defRPr sz="1600" b="1" i="0" baseline="0">
                <a:solidFill>
                  <a:schemeClr val="accent4"/>
                </a:solidFill>
                <a:latin typeface="+mn-lt"/>
              </a:defRPr>
            </a:lvl1pPr>
            <a:lvl2pPr marL="0" indent="0" algn="l">
              <a:spcBef>
                <a:spcPts val="0"/>
              </a:spcBef>
              <a:spcAft>
                <a:spcPts val="1200"/>
              </a:spcAft>
              <a:buNone/>
              <a:defRPr sz="1600" b="1">
                <a:solidFill>
                  <a:schemeClr val="accent4"/>
                </a:solidFill>
              </a:defRPr>
            </a:lvl2pPr>
            <a:lvl3pPr marL="0" indent="0" algn="l">
              <a:spcBef>
                <a:spcPts val="0"/>
              </a:spcBef>
              <a:spcAft>
                <a:spcPts val="1200"/>
              </a:spcAft>
              <a:buNone/>
              <a:defRPr sz="1600" b="1">
                <a:solidFill>
                  <a:schemeClr val="accent4"/>
                </a:solidFill>
              </a:defRPr>
            </a:lvl3pPr>
            <a:lvl4pPr marL="0" indent="0" algn="l">
              <a:spcBef>
                <a:spcPts val="0"/>
              </a:spcBef>
              <a:spcAft>
                <a:spcPts val="1200"/>
              </a:spcAft>
              <a:buNone/>
              <a:defRPr sz="1600" b="1">
                <a:solidFill>
                  <a:schemeClr val="accent4"/>
                </a:solidFill>
              </a:defRPr>
            </a:lvl4pPr>
            <a:lvl5pPr marL="0" indent="0" algn="l">
              <a:spcBef>
                <a:spcPts val="0"/>
              </a:spcBef>
              <a:spcAft>
                <a:spcPts val="1200"/>
              </a:spcAft>
              <a:buNone/>
              <a:defRPr sz="1600" b="1">
                <a:solidFill>
                  <a:schemeClr val="accent4"/>
                </a:solidFill>
              </a:defRPr>
            </a:lvl5pPr>
            <a:lvl6pPr marL="0" indent="0" algn="l">
              <a:spcBef>
                <a:spcPts val="0"/>
              </a:spcBef>
              <a:spcAft>
                <a:spcPts val="1200"/>
              </a:spcAft>
              <a:buNone/>
              <a:defRPr sz="1600" b="1">
                <a:solidFill>
                  <a:schemeClr val="accent4"/>
                </a:solidFill>
              </a:defRPr>
            </a:lvl6pPr>
            <a:lvl7pPr marL="0" indent="0" algn="l">
              <a:spcBef>
                <a:spcPts val="0"/>
              </a:spcBef>
              <a:spcAft>
                <a:spcPts val="1200"/>
              </a:spcAft>
              <a:buNone/>
              <a:defRPr sz="1600" b="1">
                <a:solidFill>
                  <a:schemeClr val="accent4"/>
                </a:solidFill>
              </a:defRPr>
            </a:lvl7pPr>
            <a:lvl8pPr marL="0" indent="0" algn="l">
              <a:spcBef>
                <a:spcPts val="0"/>
              </a:spcBef>
              <a:spcAft>
                <a:spcPts val="1200"/>
              </a:spcAft>
              <a:buNone/>
              <a:defRPr sz="1600" b="1">
                <a:solidFill>
                  <a:schemeClr val="accent4"/>
                </a:solidFill>
              </a:defRPr>
            </a:lvl8pPr>
            <a:lvl9pPr marL="0" indent="0" algn="l">
              <a:spcBef>
                <a:spcPts val="0"/>
              </a:spcBef>
              <a:spcAft>
                <a:spcPts val="1200"/>
              </a:spcAft>
              <a:buNone/>
              <a:defRPr sz="1600" b="1">
                <a:solidFill>
                  <a:schemeClr val="accent4"/>
                </a:solidFill>
              </a:defRPr>
            </a:lvl9pPr>
          </a:lstStyle>
          <a:p>
            <a:r>
              <a:rPr lang="en-US" noProof="0"/>
              <a:t>Subtitle and other information of this presentation</a:t>
            </a:r>
          </a:p>
        </p:txBody>
      </p:sp>
      <p:sp>
        <p:nvSpPr>
          <p:cNvPr id="2" name="Title 1"/>
          <p:cNvSpPr>
            <a:spLocks noGrp="1"/>
          </p:cNvSpPr>
          <p:nvPr>
            <p:ph type="ctrTitle" hasCustomPrompt="1"/>
          </p:nvPr>
        </p:nvSpPr>
        <p:spPr bwMode="gray">
          <a:xfrm>
            <a:off x="6240922" y="2180310"/>
            <a:ext cx="5327192" cy="1249282"/>
          </a:xfrm>
          <a:prstGeom prst="rect">
            <a:avLst/>
          </a:prstGeom>
          <a:noFill/>
        </p:spPr>
        <p:txBody>
          <a:bodyPr anchor="b"/>
          <a:lstStyle>
            <a:lvl1pPr algn="l">
              <a:lnSpc>
                <a:spcPct val="100000"/>
              </a:lnSpc>
              <a:defRPr sz="4000" cap="none" baseline="0">
                <a:solidFill>
                  <a:schemeClr val="bg2"/>
                </a:solidFill>
                <a:latin typeface="Merck" panose="04040805020F02020302" pitchFamily="82" charset="0"/>
                <a:ea typeface="Verdana" panose="020B0604030504040204" pitchFamily="34" charset="0"/>
                <a:cs typeface="Verdana" panose="020B0604030504040204" pitchFamily="34" charset="0"/>
              </a:defRPr>
            </a:lvl1pPr>
          </a:lstStyle>
          <a:p>
            <a:r>
              <a:rPr lang="en-US" noProof="0"/>
              <a:t>Title of presentation</a:t>
            </a:r>
          </a:p>
        </p:txBody>
      </p:sp>
      <p:grpSp>
        <p:nvGrpSpPr>
          <p:cNvPr id="12" name="Logo Merck"/>
          <p:cNvGrpSpPr>
            <a:grpSpLocks noChangeAspect="1"/>
          </p:cNvGrpSpPr>
          <p:nvPr userDrawn="1"/>
        </p:nvGrpSpPr>
        <p:grpSpPr bwMode="gray">
          <a:xfrm>
            <a:off x="9536024" y="6170950"/>
            <a:ext cx="2248608" cy="354050"/>
            <a:chOff x="396364" y="7173520"/>
            <a:chExt cx="1871956" cy="294745"/>
          </a:xfrm>
          <a:solidFill>
            <a:schemeClr val="accent4"/>
          </a:solidFill>
        </p:grpSpPr>
        <p:sp>
          <p:nvSpPr>
            <p:cNvPr id="16" name="Freeform 5"/>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85793997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oleObject" Target="../embeddings/oleObject1.bin"/><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9" imgW="353" imgH="353" progId="TCLayout.ActiveDocument.1">
                  <p:embed/>
                </p:oleObj>
              </mc:Choice>
              <mc:Fallback>
                <p:oleObj name="think-cell Slide" r:id="rId39" imgW="353" imgH="353" progId="TCLayout.ActiveDocument.1">
                  <p:embed/>
                  <p:pic>
                    <p:nvPicPr>
                      <p:cNvPr id="2" name="Object 1" hidden="1"/>
                      <p:cNvPicPr/>
                      <p:nvPr/>
                    </p:nvPicPr>
                    <p:blipFill>
                      <a:blip r:embed="rId40"/>
                      <a:stretch>
                        <a:fillRect/>
                      </a:stretch>
                    </p:blipFill>
                    <p:spPr>
                      <a:xfrm>
                        <a:off x="1588" y="1588"/>
                        <a:ext cx="1587" cy="1587"/>
                      </a:xfrm>
                      <a:prstGeom prst="rect">
                        <a:avLst/>
                      </a:prstGeom>
                    </p:spPr>
                  </p:pic>
                </p:oleObj>
              </mc:Fallback>
            </mc:AlternateContent>
          </a:graphicData>
        </a:graphic>
      </p:graphicFrame>
      <p:cxnSp>
        <p:nvCxnSpPr>
          <p:cNvPr id="14" name="Gerade Verbindung 36"/>
          <p:cNvCxnSpPr/>
          <p:nvPr userDrawn="1"/>
        </p:nvCxnSpPr>
        <p:spPr bwMode="gray">
          <a:xfrm flipV="1">
            <a:off x="624000" y="-171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5" name="Gerade Verbindung 37"/>
          <p:cNvCxnSpPr/>
          <p:nvPr userDrawn="1"/>
        </p:nvCxnSpPr>
        <p:spPr bwMode="gray">
          <a:xfrm flipV="1">
            <a:off x="1272000" y="-171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6" name="Gerade Verbindung 36"/>
          <p:cNvCxnSpPr/>
          <p:nvPr userDrawn="1"/>
        </p:nvCxnSpPr>
        <p:spPr bwMode="gray">
          <a:xfrm flipV="1">
            <a:off x="1560000" y="-170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7" name="Gerade Verbindung 37"/>
          <p:cNvCxnSpPr/>
          <p:nvPr userDrawn="1"/>
        </p:nvCxnSpPr>
        <p:spPr bwMode="gray">
          <a:xfrm flipV="1">
            <a:off x="2208000" y="-171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8" name="Gerade Verbindung 36"/>
          <p:cNvCxnSpPr/>
          <p:nvPr userDrawn="1"/>
        </p:nvCxnSpPr>
        <p:spPr bwMode="gray">
          <a:xfrm flipV="1">
            <a:off x="2496000" y="-170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9" name="Gerade Verbindung 37"/>
          <p:cNvCxnSpPr/>
          <p:nvPr userDrawn="1"/>
        </p:nvCxnSpPr>
        <p:spPr bwMode="gray">
          <a:xfrm flipV="1">
            <a:off x="3144000" y="-170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0" name="Gerade Verbindung 36"/>
          <p:cNvCxnSpPr/>
          <p:nvPr userDrawn="1"/>
        </p:nvCxnSpPr>
        <p:spPr bwMode="gray">
          <a:xfrm flipV="1">
            <a:off x="3432000" y="-169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1" name="Gerade Verbindung 37"/>
          <p:cNvCxnSpPr/>
          <p:nvPr userDrawn="1"/>
        </p:nvCxnSpPr>
        <p:spPr bwMode="gray">
          <a:xfrm flipV="1">
            <a:off x="4080000" y="-170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2" name="Gerade Verbindung 36"/>
          <p:cNvCxnSpPr/>
          <p:nvPr userDrawn="1"/>
        </p:nvCxnSpPr>
        <p:spPr bwMode="gray">
          <a:xfrm flipV="1">
            <a:off x="4368000" y="-169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3" name="Gerade Verbindung 37"/>
          <p:cNvCxnSpPr/>
          <p:nvPr userDrawn="1"/>
        </p:nvCxnSpPr>
        <p:spPr bwMode="gray">
          <a:xfrm flipV="1">
            <a:off x="5016000" y="-169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4" name="Gerade Verbindung 36"/>
          <p:cNvCxnSpPr/>
          <p:nvPr userDrawn="1"/>
        </p:nvCxnSpPr>
        <p:spPr bwMode="gray">
          <a:xfrm flipV="1">
            <a:off x="5304000" y="-169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5" name="Gerade Verbindung 37"/>
          <p:cNvCxnSpPr/>
          <p:nvPr userDrawn="1"/>
        </p:nvCxnSpPr>
        <p:spPr bwMode="gray">
          <a:xfrm flipV="1">
            <a:off x="5952000" y="-169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6" name="Gerade Verbindung 36"/>
          <p:cNvCxnSpPr/>
          <p:nvPr userDrawn="1"/>
        </p:nvCxnSpPr>
        <p:spPr bwMode="gray">
          <a:xfrm flipV="1">
            <a:off x="6240000" y="-168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7" name="Gerade Verbindung 37"/>
          <p:cNvCxnSpPr/>
          <p:nvPr userDrawn="1"/>
        </p:nvCxnSpPr>
        <p:spPr bwMode="gray">
          <a:xfrm flipV="1">
            <a:off x="6888000" y="-169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8" name="Gerade Verbindung 36"/>
          <p:cNvCxnSpPr/>
          <p:nvPr userDrawn="1"/>
        </p:nvCxnSpPr>
        <p:spPr bwMode="gray">
          <a:xfrm flipV="1">
            <a:off x="7176000" y="-168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9" name="Gerade Verbindung 37"/>
          <p:cNvCxnSpPr/>
          <p:nvPr userDrawn="1"/>
        </p:nvCxnSpPr>
        <p:spPr bwMode="gray">
          <a:xfrm flipV="1">
            <a:off x="7824000" y="-168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0" name="Gerade Verbindung 36"/>
          <p:cNvCxnSpPr/>
          <p:nvPr userDrawn="1"/>
        </p:nvCxnSpPr>
        <p:spPr bwMode="gray">
          <a:xfrm flipV="1">
            <a:off x="8112000" y="-167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1" name="Gerade Verbindung 37"/>
          <p:cNvCxnSpPr/>
          <p:nvPr userDrawn="1"/>
        </p:nvCxnSpPr>
        <p:spPr bwMode="gray">
          <a:xfrm flipV="1">
            <a:off x="8760000" y="-168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2" name="Gerade Verbindung 36"/>
          <p:cNvCxnSpPr/>
          <p:nvPr userDrawn="1"/>
        </p:nvCxnSpPr>
        <p:spPr bwMode="gray">
          <a:xfrm flipV="1">
            <a:off x="9048000" y="-167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3" name="Gerade Verbindung 37"/>
          <p:cNvCxnSpPr/>
          <p:nvPr userDrawn="1"/>
        </p:nvCxnSpPr>
        <p:spPr bwMode="gray">
          <a:xfrm flipV="1">
            <a:off x="9696000" y="-167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4" name="Gerade Verbindung 36"/>
          <p:cNvCxnSpPr/>
          <p:nvPr userDrawn="1"/>
        </p:nvCxnSpPr>
        <p:spPr bwMode="gray">
          <a:xfrm flipV="1">
            <a:off x="9984000" y="-167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5" name="Gerade Verbindung 37"/>
          <p:cNvCxnSpPr/>
          <p:nvPr userDrawn="1"/>
        </p:nvCxnSpPr>
        <p:spPr bwMode="gray">
          <a:xfrm flipV="1">
            <a:off x="10632000" y="-167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6" name="Gerade Verbindung 36"/>
          <p:cNvCxnSpPr/>
          <p:nvPr userDrawn="1"/>
        </p:nvCxnSpPr>
        <p:spPr bwMode="gray">
          <a:xfrm flipV="1">
            <a:off x="10920000" y="-166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7" name="Gerade Verbindung 37"/>
          <p:cNvCxnSpPr/>
          <p:nvPr userDrawn="1"/>
        </p:nvCxnSpPr>
        <p:spPr bwMode="gray">
          <a:xfrm flipV="1">
            <a:off x="11568000" y="-167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8" name="Gerade Verbindung 36"/>
          <p:cNvCxnSpPr/>
          <p:nvPr userDrawn="1"/>
        </p:nvCxnSpPr>
        <p:spPr bwMode="gray">
          <a:xfrm flipV="1">
            <a:off x="624000" y="6952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9" name="Gerade Verbindung 37"/>
          <p:cNvCxnSpPr/>
          <p:nvPr userDrawn="1"/>
        </p:nvCxnSpPr>
        <p:spPr bwMode="gray">
          <a:xfrm flipV="1">
            <a:off x="1272000" y="6952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0" name="Gerade Verbindung 36"/>
          <p:cNvCxnSpPr/>
          <p:nvPr userDrawn="1"/>
        </p:nvCxnSpPr>
        <p:spPr bwMode="gray">
          <a:xfrm flipV="1">
            <a:off x="1560000" y="6953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1" name="Gerade Verbindung 37"/>
          <p:cNvCxnSpPr/>
          <p:nvPr userDrawn="1"/>
        </p:nvCxnSpPr>
        <p:spPr bwMode="gray">
          <a:xfrm flipV="1">
            <a:off x="2208000" y="6952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2" name="Gerade Verbindung 36"/>
          <p:cNvCxnSpPr/>
          <p:nvPr userDrawn="1"/>
        </p:nvCxnSpPr>
        <p:spPr bwMode="gray">
          <a:xfrm flipV="1">
            <a:off x="2496000" y="6953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3" name="Gerade Verbindung 37"/>
          <p:cNvCxnSpPr/>
          <p:nvPr userDrawn="1"/>
        </p:nvCxnSpPr>
        <p:spPr bwMode="gray">
          <a:xfrm flipV="1">
            <a:off x="3144000" y="6953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4" name="Gerade Verbindung 36"/>
          <p:cNvCxnSpPr/>
          <p:nvPr userDrawn="1"/>
        </p:nvCxnSpPr>
        <p:spPr bwMode="gray">
          <a:xfrm flipV="1">
            <a:off x="3432000" y="6953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5" name="Gerade Verbindung 37"/>
          <p:cNvCxnSpPr/>
          <p:nvPr userDrawn="1"/>
        </p:nvCxnSpPr>
        <p:spPr bwMode="gray">
          <a:xfrm flipV="1">
            <a:off x="4080000" y="6953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6" name="Gerade Verbindung 36"/>
          <p:cNvCxnSpPr/>
          <p:nvPr userDrawn="1"/>
        </p:nvCxnSpPr>
        <p:spPr bwMode="gray">
          <a:xfrm flipV="1">
            <a:off x="4368000" y="6954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7" name="Gerade Verbindung 37"/>
          <p:cNvCxnSpPr/>
          <p:nvPr userDrawn="1"/>
        </p:nvCxnSpPr>
        <p:spPr bwMode="gray">
          <a:xfrm flipV="1">
            <a:off x="5016000" y="6953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8" name="Gerade Verbindung 36"/>
          <p:cNvCxnSpPr/>
          <p:nvPr userDrawn="1"/>
        </p:nvCxnSpPr>
        <p:spPr bwMode="gray">
          <a:xfrm flipV="1">
            <a:off x="5304000" y="6954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9" name="Gerade Verbindung 37"/>
          <p:cNvCxnSpPr/>
          <p:nvPr userDrawn="1"/>
        </p:nvCxnSpPr>
        <p:spPr bwMode="gray">
          <a:xfrm flipV="1">
            <a:off x="5952000" y="6954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0" name="Gerade Verbindung 36"/>
          <p:cNvCxnSpPr/>
          <p:nvPr userDrawn="1"/>
        </p:nvCxnSpPr>
        <p:spPr bwMode="gray">
          <a:xfrm flipV="1">
            <a:off x="6240000" y="6955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1" name="Gerade Verbindung 37"/>
          <p:cNvCxnSpPr/>
          <p:nvPr userDrawn="1"/>
        </p:nvCxnSpPr>
        <p:spPr bwMode="gray">
          <a:xfrm flipV="1">
            <a:off x="6888000" y="6954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2" name="Gerade Verbindung 36"/>
          <p:cNvCxnSpPr/>
          <p:nvPr userDrawn="1"/>
        </p:nvCxnSpPr>
        <p:spPr bwMode="gray">
          <a:xfrm flipV="1">
            <a:off x="7176000" y="6955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3" name="Gerade Verbindung 37"/>
          <p:cNvCxnSpPr/>
          <p:nvPr userDrawn="1"/>
        </p:nvCxnSpPr>
        <p:spPr bwMode="gray">
          <a:xfrm flipV="1">
            <a:off x="7824000" y="6955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4" name="Gerade Verbindung 36"/>
          <p:cNvCxnSpPr/>
          <p:nvPr userDrawn="1"/>
        </p:nvCxnSpPr>
        <p:spPr bwMode="gray">
          <a:xfrm flipV="1">
            <a:off x="8112000" y="6955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5" name="Gerade Verbindung 37"/>
          <p:cNvCxnSpPr/>
          <p:nvPr userDrawn="1"/>
        </p:nvCxnSpPr>
        <p:spPr bwMode="gray">
          <a:xfrm flipV="1">
            <a:off x="8760000" y="6955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6" name="Gerade Verbindung 36"/>
          <p:cNvCxnSpPr/>
          <p:nvPr userDrawn="1"/>
        </p:nvCxnSpPr>
        <p:spPr bwMode="gray">
          <a:xfrm flipV="1">
            <a:off x="9048000" y="6956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7" name="Gerade Verbindung 37"/>
          <p:cNvCxnSpPr/>
          <p:nvPr userDrawn="1"/>
        </p:nvCxnSpPr>
        <p:spPr bwMode="gray">
          <a:xfrm flipV="1">
            <a:off x="9696000" y="6955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8" name="Gerade Verbindung 36"/>
          <p:cNvCxnSpPr/>
          <p:nvPr userDrawn="1"/>
        </p:nvCxnSpPr>
        <p:spPr bwMode="gray">
          <a:xfrm flipV="1">
            <a:off x="9984000" y="6956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9" name="Gerade Verbindung 37"/>
          <p:cNvCxnSpPr/>
          <p:nvPr userDrawn="1"/>
        </p:nvCxnSpPr>
        <p:spPr bwMode="gray">
          <a:xfrm flipV="1">
            <a:off x="10632000" y="6956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0" name="Gerade Verbindung 36"/>
          <p:cNvCxnSpPr/>
          <p:nvPr userDrawn="1"/>
        </p:nvCxnSpPr>
        <p:spPr bwMode="gray">
          <a:xfrm flipV="1">
            <a:off x="10920000" y="6957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1" name="Gerade Verbindung 37"/>
          <p:cNvCxnSpPr/>
          <p:nvPr userDrawn="1"/>
        </p:nvCxnSpPr>
        <p:spPr bwMode="gray">
          <a:xfrm flipV="1">
            <a:off x="11568000" y="6956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bwMode="gray">
          <a:xfrm rot="5400000" flipV="1">
            <a:off x="-192704" y="1437000"/>
            <a:ext cx="0" cy="96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bwMode="gray">
          <a:xfrm rot="5400000" flipV="1">
            <a:off x="-192704" y="6045296"/>
            <a:ext cx="0" cy="96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4" name="Gerade Verbindung 64"/>
          <p:cNvCxnSpPr/>
          <p:nvPr userDrawn="1"/>
        </p:nvCxnSpPr>
        <p:spPr bwMode="gray">
          <a:xfrm rot="5400000" flipV="1">
            <a:off x="-192704" y="356664"/>
            <a:ext cx="0" cy="96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sp>
        <p:nvSpPr>
          <p:cNvPr id="65" name="empower - DO NOT DELETE!!!" hidden="1"/>
          <p:cNvSpPr/>
          <p:nvPr userDrawn="1">
            <p:custDataLst>
              <p:tags r:id="rId37"/>
            </p:custDataLst>
          </p:nvPr>
        </p:nvSpPr>
        <p:spPr bwMode="gray">
          <a:xfrm>
            <a:off x="0" y="0"/>
            <a:ext cx="0" cy="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66" name="Slide Number Placeholder 65"/>
          <p:cNvSpPr>
            <a:spLocks noGrp="1"/>
          </p:cNvSpPr>
          <p:nvPr>
            <p:ph type="sldNum" sz="quarter" idx="4"/>
          </p:nvPr>
        </p:nvSpPr>
        <p:spPr bwMode="gray">
          <a:xfrm>
            <a:off x="624001" y="6380999"/>
            <a:ext cx="648000" cy="216172"/>
          </a:xfrm>
          <a:prstGeom prst="rect">
            <a:avLst/>
          </a:prstGeom>
        </p:spPr>
        <p:txBody>
          <a:bodyPr vert="horz" lIns="0" tIns="0" rIns="0" bIns="36000" rtlCol="0" anchor="b" anchorCtr="0"/>
          <a:lstStyle>
            <a:lvl1pPr>
              <a:defRPr lang="de-DE" sz="80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fld id="{FD5E7EB4-4CDF-47BB-AF16-07782904B863}" type="slidenum">
              <a:rPr lang="en-US" noProof="0" smtClean="0"/>
              <a:pPr/>
              <a:t>‹#›</a:t>
            </a:fld>
            <a:endParaRPr lang="en-US" noProof="0"/>
          </a:p>
        </p:txBody>
      </p:sp>
      <p:sp>
        <p:nvSpPr>
          <p:cNvPr id="67" name="Footer Placeholder 66"/>
          <p:cNvSpPr>
            <a:spLocks noGrp="1"/>
          </p:cNvSpPr>
          <p:nvPr>
            <p:ph type="ftr" sz="quarter" idx="3"/>
          </p:nvPr>
        </p:nvSpPr>
        <p:spPr bwMode="gray">
          <a:xfrm>
            <a:off x="1272000" y="6380999"/>
            <a:ext cx="8718972" cy="216172"/>
          </a:xfrm>
          <a:prstGeom prst="rect">
            <a:avLst/>
          </a:prstGeom>
        </p:spPr>
        <p:txBody>
          <a:bodyPr vert="horz" lIns="0" tIns="0" rIns="0" bIns="36000" rtlCol="0" anchor="b" anchorCtr="0"/>
          <a:lstStyle>
            <a:lvl1pPr>
              <a:defRPr lang="de-DE" sz="80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r>
              <a:rPr lang="en-GB"/>
              <a:t>Data Exchange with Merck | December 2021</a:t>
            </a:r>
            <a:endParaRPr lang="en-US"/>
          </a:p>
        </p:txBody>
      </p:sp>
      <p:sp>
        <p:nvSpPr>
          <p:cNvPr id="13" name="Text Placeholder 12"/>
          <p:cNvSpPr>
            <a:spLocks noGrp="1"/>
          </p:cNvSpPr>
          <p:nvPr>
            <p:ph type="body" idx="1"/>
          </p:nvPr>
        </p:nvSpPr>
        <p:spPr bwMode="gray">
          <a:xfrm>
            <a:off x="623888" y="1485000"/>
            <a:ext cx="10944227" cy="4607824"/>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a:p>
            <a:pPr lvl="4"/>
            <a:endParaRPr lang="en-US"/>
          </a:p>
        </p:txBody>
      </p:sp>
      <p:sp>
        <p:nvSpPr>
          <p:cNvPr id="4" name="Title Placeholder 3"/>
          <p:cNvSpPr>
            <a:spLocks noGrp="1"/>
          </p:cNvSpPr>
          <p:nvPr>
            <p:ph type="title"/>
          </p:nvPr>
        </p:nvSpPr>
        <p:spPr bwMode="gray">
          <a:xfrm>
            <a:off x="623888" y="700022"/>
            <a:ext cx="10944225" cy="356730"/>
          </a:xfrm>
          <a:prstGeom prst="rect">
            <a:avLst/>
          </a:prstGeom>
          <a:noFill/>
        </p:spPr>
        <p:txBody>
          <a:bodyPr vert="horz" lIns="0" tIns="0" rIns="0" bIns="18000" rtlCol="0" anchor="b" anchorCtr="0">
            <a:spAutoFit/>
          </a:bodyPr>
          <a:lstStyle/>
          <a:p>
            <a:pPr lvl="0">
              <a:lnSpc>
                <a:spcPct val="100000"/>
              </a:lnSpc>
            </a:pPr>
            <a:r>
              <a:rPr lang="en-US" noProof="0"/>
              <a:t>Insert slide title here (max. 2 lines | max. 1 line with Action Title)</a:t>
            </a:r>
          </a:p>
        </p:txBody>
      </p:sp>
      <p:grpSp>
        <p:nvGrpSpPr>
          <p:cNvPr id="7" name="Logo Merck"/>
          <p:cNvGrpSpPr>
            <a:grpSpLocks noChangeAspect="1"/>
          </p:cNvGrpSpPr>
          <p:nvPr userDrawn="1">
            <p:custDataLst>
              <p:tags r:id="rId38"/>
            </p:custDataLst>
          </p:nvPr>
        </p:nvGrpSpPr>
        <p:grpSpPr bwMode="gray">
          <a:xfrm>
            <a:off x="10539522" y="6440320"/>
            <a:ext cx="1028592" cy="162000"/>
            <a:chOff x="-4548188" y="3063875"/>
            <a:chExt cx="2741613" cy="431800"/>
          </a:xfrm>
          <a:solidFill>
            <a:schemeClr val="bg2"/>
          </a:solidFill>
        </p:grpSpPr>
        <p:sp>
          <p:nvSpPr>
            <p:cNvPr id="8" name="Logo K"/>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Logo C"/>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Logo R"/>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Logo E"/>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Logo M"/>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185545199"/>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 id="2147483711" r:id="rId16"/>
    <p:sldLayoutId id="2147483712" r:id="rId17"/>
    <p:sldLayoutId id="2147483713" r:id="rId18"/>
    <p:sldLayoutId id="2147483714" r:id="rId19"/>
    <p:sldLayoutId id="2147483715" r:id="rId20"/>
    <p:sldLayoutId id="2147483716" r:id="rId21"/>
    <p:sldLayoutId id="2147483717" r:id="rId22"/>
    <p:sldLayoutId id="2147483718" r:id="rId23"/>
    <p:sldLayoutId id="2147483719" r:id="rId24"/>
    <p:sldLayoutId id="2147483720" r:id="rId25"/>
    <p:sldLayoutId id="2147483721" r:id="rId26"/>
    <p:sldLayoutId id="2147483722" r:id="rId27"/>
    <p:sldLayoutId id="2147483723" r:id="rId28"/>
    <p:sldLayoutId id="2147483724" r:id="rId29"/>
    <p:sldLayoutId id="2147483725" r:id="rId30"/>
    <p:sldLayoutId id="2147483726" r:id="rId31"/>
    <p:sldLayoutId id="2147483727" r:id="rId32"/>
    <p:sldLayoutId id="2147483728" r:id="rId33"/>
    <p:sldLayoutId id="2147483729" r:id="rId34"/>
  </p:sldLayoutIdLst>
  <p:hf hdr="0" dt="0"/>
  <p:txStyles>
    <p:titleStyle>
      <a:lvl1pPr algn="l" defTabSz="914400" rtl="0" eaLnBrk="1" latinLnBrk="0" hangingPunct="1">
        <a:lnSpc>
          <a:spcPts val="2400"/>
        </a:lnSpc>
        <a:spcBef>
          <a:spcPct val="0"/>
        </a:spcBef>
        <a:buNone/>
        <a:defRPr lang="de-DE" sz="2200" b="1"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105000"/>
        </a:lnSpc>
        <a:spcBef>
          <a:spcPts val="600"/>
        </a:spcBef>
        <a:spcAft>
          <a:spcPts val="300"/>
        </a:spcAft>
        <a:buFont typeface="Arial" panose="020B0604020202020204" pitchFamily="34" charset="0"/>
        <a:buNone/>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80000" indent="-180000" algn="l" defTabSz="914400" rtl="0" eaLnBrk="1" latinLnBrk="0" hangingPunct="1">
        <a:lnSpc>
          <a:spcPct val="105000"/>
        </a:lnSpc>
        <a:spcBef>
          <a:spcPts val="300"/>
        </a:spcBef>
        <a:spcAft>
          <a:spcPts val="300"/>
        </a:spcAft>
        <a:buClr>
          <a:schemeClr val="accent1"/>
        </a:buClr>
        <a:buFont typeface="Wingdings" panose="05000000000000000000" pitchFamily="2"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360000" indent="-180000" algn="l" defTabSz="914400" rtl="0" eaLnBrk="1" latinLnBrk="0" hangingPunct="1">
        <a:lnSpc>
          <a:spcPct val="105000"/>
        </a:lnSpc>
        <a:spcBef>
          <a:spcPts val="300"/>
        </a:spcBef>
        <a:spcAft>
          <a:spcPts val="300"/>
        </a:spcAft>
        <a:buClr>
          <a:schemeClr val="accent1"/>
        </a:buClr>
        <a:buFont typeface="Symbol" panose="05050102010706020507" pitchFamily="18"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538163"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720725"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de-DE"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9pPr>
    </p:bodyStyle>
    <p:otherStyle>
      <a:defPPr>
        <a:defRPr lang="fr-FR"/>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orient="horz" pos="935">
          <p15:clr>
            <a:srgbClr val="F26B43"/>
          </p15:clr>
        </p15:guide>
        <p15:guide id="3" orient="horz" pos="3838">
          <p15:clr>
            <a:srgbClr val="F26B43"/>
          </p15:clr>
        </p15:guide>
        <p15:guide id="4" pos="393">
          <p15:clr>
            <a:srgbClr val="F26B43"/>
          </p15:clr>
        </p15:guide>
        <p15:guide id="5" pos="728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F2ED85D-2B15-47DC-B3D0-22EA62EB2F81}"/>
              </a:ext>
            </a:extLst>
          </p:cNvPr>
          <p:cNvSpPr>
            <a:spLocks noGrp="1"/>
          </p:cNvSpPr>
          <p:nvPr>
            <p:ph type="body" sz="quarter" idx="10"/>
          </p:nvPr>
        </p:nvSpPr>
        <p:spPr/>
        <p:txBody>
          <a:bodyPr/>
          <a:lstStyle/>
          <a:p>
            <a:r>
              <a:rPr lang="en-US" altLang="zh-CN" dirty="0"/>
              <a:t>Dan Li</a:t>
            </a:r>
            <a:endParaRPr lang="en-US" dirty="0"/>
          </a:p>
          <a:p>
            <a:r>
              <a:rPr lang="en-US" dirty="0"/>
              <a:t>March 2025</a:t>
            </a:r>
            <a:endParaRPr lang="en-IE" dirty="0"/>
          </a:p>
        </p:txBody>
      </p:sp>
      <p:sp>
        <p:nvSpPr>
          <p:cNvPr id="4" name="Title 3">
            <a:extLst>
              <a:ext uri="{FF2B5EF4-FFF2-40B4-BE49-F238E27FC236}">
                <a16:creationId xmlns:a16="http://schemas.microsoft.com/office/drawing/2014/main" id="{1D0243E2-DE89-4818-9E6E-329B7553A1D5}"/>
              </a:ext>
            </a:extLst>
          </p:cNvPr>
          <p:cNvSpPr>
            <a:spLocks noGrp="1"/>
          </p:cNvSpPr>
          <p:nvPr>
            <p:ph type="ctrTitle"/>
          </p:nvPr>
        </p:nvSpPr>
        <p:spPr>
          <a:xfrm>
            <a:off x="5807692" y="700852"/>
            <a:ext cx="5760420" cy="1864835"/>
          </a:xfrm>
        </p:spPr>
        <p:txBody>
          <a:bodyPr/>
          <a:lstStyle/>
          <a:p>
            <a:r>
              <a:rPr lang="nl-BE" altLang="zh-CN" dirty="0"/>
              <a:t>R package to calculate toxicity grade</a:t>
            </a:r>
            <a:endParaRPr lang="en-IE" dirty="0"/>
          </a:p>
        </p:txBody>
      </p:sp>
    </p:spTree>
    <p:extLst>
      <p:ext uri="{BB962C8B-B14F-4D97-AF65-F5344CB8AC3E}">
        <p14:creationId xmlns:p14="http://schemas.microsoft.com/office/powerpoint/2010/main" val="37199899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D52F9DE-C167-40E8-B53C-7D41D8374676}"/>
              </a:ext>
            </a:extLst>
          </p:cNvPr>
          <p:cNvSpPr>
            <a:spLocks noGrp="1"/>
          </p:cNvSpPr>
          <p:nvPr>
            <p:ph type="sldNum" sz="quarter" idx="16"/>
          </p:nvPr>
        </p:nvSpPr>
        <p:spPr/>
        <p:txBody>
          <a:bodyPr/>
          <a:lstStyle/>
          <a:p>
            <a:fld id="{FD5E7EB4-4CDF-47BB-AF16-07782904B863}" type="slidenum">
              <a:rPr lang="en-US" smtClean="0"/>
              <a:pPr/>
              <a:t>10</a:t>
            </a:fld>
            <a:endParaRPr lang="en-US"/>
          </a:p>
        </p:txBody>
      </p:sp>
      <p:sp>
        <p:nvSpPr>
          <p:cNvPr id="3" name="Content Placeholder 2">
            <a:extLst>
              <a:ext uri="{FF2B5EF4-FFF2-40B4-BE49-F238E27FC236}">
                <a16:creationId xmlns:a16="http://schemas.microsoft.com/office/drawing/2014/main" id="{6F407A41-D14D-41B7-863B-ABB0C69CB8D0}"/>
              </a:ext>
            </a:extLst>
          </p:cNvPr>
          <p:cNvSpPr>
            <a:spLocks noGrp="1"/>
          </p:cNvSpPr>
          <p:nvPr>
            <p:ph sz="quarter" idx="14"/>
          </p:nvPr>
        </p:nvSpPr>
        <p:spPr>
          <a:xfrm>
            <a:off x="489417" y="1116281"/>
            <a:ext cx="4584471" cy="1537542"/>
          </a:xfrm>
        </p:spPr>
        <p:txBody>
          <a:bodyPr/>
          <a:lstStyle/>
          <a:p>
            <a:r>
              <a:rPr lang="en-US" dirty="0"/>
              <a:t>If we ignore defensive code, the bone of</a:t>
            </a:r>
          </a:p>
          <a:p>
            <a:r>
              <a:rPr lang="en-US" dirty="0"/>
              <a:t>the main function is show in this flow chat</a:t>
            </a:r>
          </a:p>
          <a:p>
            <a:pPr marL="342900" indent="-342900">
              <a:buFont typeface="+mj-lt"/>
              <a:buAutoNum type="arabicPeriod"/>
            </a:pPr>
            <a:endParaRPr lang="en-GB" dirty="0"/>
          </a:p>
        </p:txBody>
      </p:sp>
      <p:sp>
        <p:nvSpPr>
          <p:cNvPr id="4" name="Text Placeholder 3">
            <a:extLst>
              <a:ext uri="{FF2B5EF4-FFF2-40B4-BE49-F238E27FC236}">
                <a16:creationId xmlns:a16="http://schemas.microsoft.com/office/drawing/2014/main" id="{0711DC84-99B9-4440-8CF3-F4AE7F4E9755}"/>
              </a:ext>
            </a:extLst>
          </p:cNvPr>
          <p:cNvSpPr>
            <a:spLocks noGrp="1"/>
          </p:cNvSpPr>
          <p:nvPr>
            <p:ph type="body" sz="quarter" idx="13"/>
          </p:nvPr>
        </p:nvSpPr>
        <p:spPr/>
        <p:txBody>
          <a:bodyPr/>
          <a:lstStyle/>
          <a:p>
            <a:r>
              <a:rPr lang="de-DE" altLang="zh-CN" dirty="0"/>
              <a:t>Over all process</a:t>
            </a:r>
            <a:endParaRPr lang="en-GB" altLang="zh-CN" dirty="0"/>
          </a:p>
        </p:txBody>
      </p:sp>
      <p:sp>
        <p:nvSpPr>
          <p:cNvPr id="6" name="Footer Placeholder 5">
            <a:extLst>
              <a:ext uri="{FF2B5EF4-FFF2-40B4-BE49-F238E27FC236}">
                <a16:creationId xmlns:a16="http://schemas.microsoft.com/office/drawing/2014/main" id="{F6E76EFE-3B90-44F6-B7E2-44C41D04FD3F}"/>
              </a:ext>
            </a:extLst>
          </p:cNvPr>
          <p:cNvSpPr>
            <a:spLocks noGrp="1"/>
          </p:cNvSpPr>
          <p:nvPr>
            <p:ph type="ftr" sz="quarter" idx="10"/>
          </p:nvPr>
        </p:nvSpPr>
        <p:spPr/>
        <p:txBody>
          <a:bodyPr/>
          <a:lstStyle/>
          <a:p>
            <a:r>
              <a:rPr lang="en-GB" altLang="zh-CN" dirty="0"/>
              <a:t>Pharma RUG | March 2025</a:t>
            </a:r>
            <a:endParaRPr lang="en-US" altLang="zh-CN" dirty="0"/>
          </a:p>
        </p:txBody>
      </p:sp>
      <p:sp>
        <p:nvSpPr>
          <p:cNvPr id="7" name="Content Placeholder 2">
            <a:extLst>
              <a:ext uri="{FF2B5EF4-FFF2-40B4-BE49-F238E27FC236}">
                <a16:creationId xmlns:a16="http://schemas.microsoft.com/office/drawing/2014/main" id="{18DAA5D1-EB30-B47E-27C1-8EE28908F7EB}"/>
              </a:ext>
            </a:extLst>
          </p:cNvPr>
          <p:cNvSpPr txBox="1">
            <a:spLocks/>
          </p:cNvSpPr>
          <p:nvPr/>
        </p:nvSpPr>
        <p:spPr bwMode="gray">
          <a:xfrm>
            <a:off x="623888" y="786080"/>
            <a:ext cx="11088500" cy="5011469"/>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lang="en-US"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80000" indent="-180000" algn="l" defTabSz="914400" rtl="0" eaLnBrk="1" latinLnBrk="0" hangingPunct="1">
              <a:lnSpc>
                <a:spcPct val="105000"/>
              </a:lnSpc>
              <a:spcBef>
                <a:spcPts val="300"/>
              </a:spcBef>
              <a:spcAft>
                <a:spcPts val="300"/>
              </a:spcAft>
              <a:buClr>
                <a:schemeClr val="accent1"/>
              </a:buClr>
              <a:buFont typeface="Wingdings" panose="05000000000000000000" pitchFamily="2"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360000" indent="-180000" algn="l" defTabSz="914400" rtl="0" eaLnBrk="1" latinLnBrk="0" hangingPunct="1">
              <a:lnSpc>
                <a:spcPct val="105000"/>
              </a:lnSpc>
              <a:spcBef>
                <a:spcPts val="300"/>
              </a:spcBef>
              <a:spcAft>
                <a:spcPts val="300"/>
              </a:spcAft>
              <a:buClr>
                <a:schemeClr val="accent1"/>
              </a:buClr>
              <a:buFont typeface="Symbol" panose="05050102010706020507" pitchFamily="18"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538163"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720725"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de-DE"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9pPr>
          </a:lstStyle>
          <a:p>
            <a:pPr marL="342900" indent="-342900">
              <a:buFont typeface="+mj-lt"/>
              <a:buAutoNum type="arabicPeriod"/>
            </a:pPr>
            <a:endParaRPr lang="en-US" dirty="0"/>
          </a:p>
        </p:txBody>
      </p:sp>
      <p:sp>
        <p:nvSpPr>
          <p:cNvPr id="5" name="Content Placeholder 2">
            <a:extLst>
              <a:ext uri="{FF2B5EF4-FFF2-40B4-BE49-F238E27FC236}">
                <a16:creationId xmlns:a16="http://schemas.microsoft.com/office/drawing/2014/main" id="{EDE06AAC-1CA0-BC4A-3F01-9A82FFC37EB5}"/>
              </a:ext>
            </a:extLst>
          </p:cNvPr>
          <p:cNvSpPr txBox="1">
            <a:spLocks/>
          </p:cNvSpPr>
          <p:nvPr/>
        </p:nvSpPr>
        <p:spPr bwMode="gray">
          <a:xfrm>
            <a:off x="623888" y="866683"/>
            <a:ext cx="5083431" cy="4875037"/>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lang="en-US"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80000" indent="-180000" algn="l" defTabSz="914400" rtl="0" eaLnBrk="1" latinLnBrk="0" hangingPunct="1">
              <a:lnSpc>
                <a:spcPct val="105000"/>
              </a:lnSpc>
              <a:spcBef>
                <a:spcPts val="300"/>
              </a:spcBef>
              <a:spcAft>
                <a:spcPts val="300"/>
              </a:spcAft>
              <a:buClr>
                <a:schemeClr val="accent1"/>
              </a:buClr>
              <a:buFont typeface="Wingdings" panose="05000000000000000000" pitchFamily="2"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360000" indent="-180000" algn="l" defTabSz="914400" rtl="0" eaLnBrk="1" latinLnBrk="0" hangingPunct="1">
              <a:lnSpc>
                <a:spcPct val="105000"/>
              </a:lnSpc>
              <a:spcBef>
                <a:spcPts val="300"/>
              </a:spcBef>
              <a:spcAft>
                <a:spcPts val="300"/>
              </a:spcAft>
              <a:buClr>
                <a:schemeClr val="accent1"/>
              </a:buClr>
              <a:buFont typeface="Symbol" panose="05050102010706020507" pitchFamily="18"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538163"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720725"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de-DE"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9pPr>
          </a:lstStyle>
          <a:p>
            <a:pPr marL="285750" indent="-285750">
              <a:buFontTx/>
              <a:buChar char="-"/>
            </a:pPr>
            <a:endParaRPr lang="en-US" dirty="0"/>
          </a:p>
        </p:txBody>
      </p:sp>
      <p:pic>
        <p:nvPicPr>
          <p:cNvPr id="23" name="Picture 22">
            <a:extLst>
              <a:ext uri="{FF2B5EF4-FFF2-40B4-BE49-F238E27FC236}">
                <a16:creationId xmlns:a16="http://schemas.microsoft.com/office/drawing/2014/main" id="{514A13E5-19FE-5A54-4F8F-FC1EEF1D6F17}"/>
              </a:ext>
            </a:extLst>
          </p:cNvPr>
          <p:cNvPicPr>
            <a:picLocks noChangeAspect="1"/>
          </p:cNvPicPr>
          <p:nvPr/>
        </p:nvPicPr>
        <p:blipFill>
          <a:blip r:embed="rId2"/>
          <a:stretch>
            <a:fillRect/>
          </a:stretch>
        </p:blipFill>
        <p:spPr>
          <a:xfrm>
            <a:off x="5707319" y="227302"/>
            <a:ext cx="4757816" cy="6129024"/>
          </a:xfrm>
          <a:prstGeom prst="rect">
            <a:avLst/>
          </a:prstGeom>
        </p:spPr>
      </p:pic>
    </p:spTree>
    <p:extLst>
      <p:ext uri="{BB962C8B-B14F-4D97-AF65-F5344CB8AC3E}">
        <p14:creationId xmlns:p14="http://schemas.microsoft.com/office/powerpoint/2010/main" val="18199207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D52F9DE-C167-40E8-B53C-7D41D8374676}"/>
              </a:ext>
            </a:extLst>
          </p:cNvPr>
          <p:cNvSpPr>
            <a:spLocks noGrp="1"/>
          </p:cNvSpPr>
          <p:nvPr>
            <p:ph type="sldNum" sz="quarter" idx="16"/>
          </p:nvPr>
        </p:nvSpPr>
        <p:spPr/>
        <p:txBody>
          <a:bodyPr/>
          <a:lstStyle/>
          <a:p>
            <a:fld id="{FD5E7EB4-4CDF-47BB-AF16-07782904B863}" type="slidenum">
              <a:rPr lang="en-US" smtClean="0"/>
              <a:pPr/>
              <a:t>11</a:t>
            </a:fld>
            <a:endParaRPr lang="en-US"/>
          </a:p>
        </p:txBody>
      </p:sp>
      <p:sp>
        <p:nvSpPr>
          <p:cNvPr id="3" name="Content Placeholder 2">
            <a:extLst>
              <a:ext uri="{FF2B5EF4-FFF2-40B4-BE49-F238E27FC236}">
                <a16:creationId xmlns:a16="http://schemas.microsoft.com/office/drawing/2014/main" id="{6F407A41-D14D-41B7-863B-ABB0C69CB8D0}"/>
              </a:ext>
            </a:extLst>
          </p:cNvPr>
          <p:cNvSpPr>
            <a:spLocks noGrp="1"/>
          </p:cNvSpPr>
          <p:nvPr>
            <p:ph sz="quarter" idx="14"/>
          </p:nvPr>
        </p:nvSpPr>
        <p:spPr>
          <a:xfrm>
            <a:off x="489418" y="1116280"/>
            <a:ext cx="11222970" cy="4875037"/>
          </a:xfrm>
        </p:spPr>
        <p:txBody>
          <a:bodyPr/>
          <a:lstStyle/>
          <a:p>
            <a:endParaRPr lang="en-US" dirty="0"/>
          </a:p>
          <a:p>
            <a:pPr marL="342900" indent="-342900">
              <a:buFont typeface="+mj-lt"/>
              <a:buAutoNum type="arabicPeriod"/>
            </a:pPr>
            <a:endParaRPr lang="en-GB" dirty="0"/>
          </a:p>
        </p:txBody>
      </p:sp>
      <p:sp>
        <p:nvSpPr>
          <p:cNvPr id="4" name="Text Placeholder 3">
            <a:extLst>
              <a:ext uri="{FF2B5EF4-FFF2-40B4-BE49-F238E27FC236}">
                <a16:creationId xmlns:a16="http://schemas.microsoft.com/office/drawing/2014/main" id="{0711DC84-99B9-4440-8CF3-F4AE7F4E9755}"/>
              </a:ext>
            </a:extLst>
          </p:cNvPr>
          <p:cNvSpPr>
            <a:spLocks noGrp="1"/>
          </p:cNvSpPr>
          <p:nvPr>
            <p:ph type="body" sz="quarter" idx="13"/>
          </p:nvPr>
        </p:nvSpPr>
        <p:spPr/>
        <p:txBody>
          <a:bodyPr/>
          <a:lstStyle/>
          <a:p>
            <a:r>
              <a:rPr lang="de-DE" altLang="zh-CN" dirty="0"/>
              <a:t>Convert definition file </a:t>
            </a:r>
            <a:r>
              <a:rPr lang="de-DE" altLang="zh-CN"/>
              <a:t>to Rdata </a:t>
            </a:r>
            <a:r>
              <a:rPr lang="de-DE" altLang="zh-CN" dirty="0"/>
              <a:t>file</a:t>
            </a:r>
            <a:endParaRPr lang="en-GB" altLang="zh-CN" dirty="0"/>
          </a:p>
        </p:txBody>
      </p:sp>
      <p:sp>
        <p:nvSpPr>
          <p:cNvPr id="6" name="Footer Placeholder 5">
            <a:extLst>
              <a:ext uri="{FF2B5EF4-FFF2-40B4-BE49-F238E27FC236}">
                <a16:creationId xmlns:a16="http://schemas.microsoft.com/office/drawing/2014/main" id="{F6E76EFE-3B90-44F6-B7E2-44C41D04FD3F}"/>
              </a:ext>
            </a:extLst>
          </p:cNvPr>
          <p:cNvSpPr>
            <a:spLocks noGrp="1"/>
          </p:cNvSpPr>
          <p:nvPr>
            <p:ph type="ftr" sz="quarter" idx="10"/>
          </p:nvPr>
        </p:nvSpPr>
        <p:spPr/>
        <p:txBody>
          <a:bodyPr/>
          <a:lstStyle/>
          <a:p>
            <a:r>
              <a:rPr lang="en-GB" altLang="zh-CN" dirty="0"/>
              <a:t>Pharma RUG | March 2025</a:t>
            </a:r>
            <a:endParaRPr lang="en-US" altLang="zh-CN" dirty="0"/>
          </a:p>
        </p:txBody>
      </p:sp>
      <p:sp>
        <p:nvSpPr>
          <p:cNvPr id="7" name="Content Placeholder 2">
            <a:extLst>
              <a:ext uri="{FF2B5EF4-FFF2-40B4-BE49-F238E27FC236}">
                <a16:creationId xmlns:a16="http://schemas.microsoft.com/office/drawing/2014/main" id="{18DAA5D1-EB30-B47E-27C1-8EE28908F7EB}"/>
              </a:ext>
            </a:extLst>
          </p:cNvPr>
          <p:cNvSpPr txBox="1">
            <a:spLocks/>
          </p:cNvSpPr>
          <p:nvPr/>
        </p:nvSpPr>
        <p:spPr bwMode="gray">
          <a:xfrm>
            <a:off x="623888" y="786081"/>
            <a:ext cx="11088500" cy="491936"/>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lang="en-US"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80000" indent="-180000" algn="l" defTabSz="914400" rtl="0" eaLnBrk="1" latinLnBrk="0" hangingPunct="1">
              <a:lnSpc>
                <a:spcPct val="105000"/>
              </a:lnSpc>
              <a:spcBef>
                <a:spcPts val="300"/>
              </a:spcBef>
              <a:spcAft>
                <a:spcPts val="300"/>
              </a:spcAft>
              <a:buClr>
                <a:schemeClr val="accent1"/>
              </a:buClr>
              <a:buFont typeface="Wingdings" panose="05000000000000000000" pitchFamily="2"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360000" indent="-180000" algn="l" defTabSz="914400" rtl="0" eaLnBrk="1" latinLnBrk="0" hangingPunct="1">
              <a:lnSpc>
                <a:spcPct val="105000"/>
              </a:lnSpc>
              <a:spcBef>
                <a:spcPts val="300"/>
              </a:spcBef>
              <a:spcAft>
                <a:spcPts val="300"/>
              </a:spcAft>
              <a:buClr>
                <a:schemeClr val="accent1"/>
              </a:buClr>
              <a:buFont typeface="Symbol" panose="05050102010706020507" pitchFamily="18"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538163"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720725"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de-DE"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9pPr>
          </a:lstStyle>
          <a:p>
            <a:pPr marL="342900" indent="-342900">
              <a:buFont typeface="+mj-lt"/>
              <a:buAutoNum type="arabicPeriod"/>
            </a:pPr>
            <a:endParaRPr lang="en-US" dirty="0"/>
          </a:p>
        </p:txBody>
      </p:sp>
      <p:pic>
        <p:nvPicPr>
          <p:cNvPr id="8" name="Picture 7">
            <a:extLst>
              <a:ext uri="{FF2B5EF4-FFF2-40B4-BE49-F238E27FC236}">
                <a16:creationId xmlns:a16="http://schemas.microsoft.com/office/drawing/2014/main" id="{97A560DA-881E-CAE9-46DF-BADEF3AB6A25}"/>
              </a:ext>
            </a:extLst>
          </p:cNvPr>
          <p:cNvPicPr>
            <a:picLocks noChangeAspect="1"/>
          </p:cNvPicPr>
          <p:nvPr/>
        </p:nvPicPr>
        <p:blipFill>
          <a:blip r:embed="rId2"/>
          <a:stretch>
            <a:fillRect/>
          </a:stretch>
        </p:blipFill>
        <p:spPr>
          <a:xfrm>
            <a:off x="581763" y="1403797"/>
            <a:ext cx="11097296" cy="4539803"/>
          </a:xfrm>
          <a:prstGeom prst="rect">
            <a:avLst/>
          </a:prstGeom>
        </p:spPr>
      </p:pic>
    </p:spTree>
    <p:extLst>
      <p:ext uri="{BB962C8B-B14F-4D97-AF65-F5344CB8AC3E}">
        <p14:creationId xmlns:p14="http://schemas.microsoft.com/office/powerpoint/2010/main" val="19333404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D52F9DE-C167-40E8-B53C-7D41D8374676}"/>
              </a:ext>
            </a:extLst>
          </p:cNvPr>
          <p:cNvSpPr>
            <a:spLocks noGrp="1"/>
          </p:cNvSpPr>
          <p:nvPr>
            <p:ph type="sldNum" sz="quarter" idx="16"/>
          </p:nvPr>
        </p:nvSpPr>
        <p:spPr/>
        <p:txBody>
          <a:bodyPr/>
          <a:lstStyle/>
          <a:p>
            <a:fld id="{FD5E7EB4-4CDF-47BB-AF16-07782904B863}" type="slidenum">
              <a:rPr lang="en-US" smtClean="0"/>
              <a:pPr/>
              <a:t>12</a:t>
            </a:fld>
            <a:endParaRPr lang="en-US"/>
          </a:p>
        </p:txBody>
      </p:sp>
      <p:sp>
        <p:nvSpPr>
          <p:cNvPr id="3" name="Content Placeholder 2">
            <a:extLst>
              <a:ext uri="{FF2B5EF4-FFF2-40B4-BE49-F238E27FC236}">
                <a16:creationId xmlns:a16="http://schemas.microsoft.com/office/drawing/2014/main" id="{6F407A41-D14D-41B7-863B-ABB0C69CB8D0}"/>
              </a:ext>
            </a:extLst>
          </p:cNvPr>
          <p:cNvSpPr>
            <a:spLocks noGrp="1"/>
          </p:cNvSpPr>
          <p:nvPr>
            <p:ph sz="quarter" idx="14"/>
          </p:nvPr>
        </p:nvSpPr>
        <p:spPr>
          <a:xfrm>
            <a:off x="489418" y="1116280"/>
            <a:ext cx="11222970" cy="4875037"/>
          </a:xfrm>
        </p:spPr>
        <p:txBody>
          <a:bodyPr/>
          <a:lstStyle/>
          <a:p>
            <a:endParaRPr lang="en-US" dirty="0"/>
          </a:p>
          <a:p>
            <a:pPr marL="342900" indent="-342900">
              <a:buFont typeface="+mj-lt"/>
              <a:buAutoNum type="arabicPeriod"/>
            </a:pPr>
            <a:endParaRPr lang="en-GB" dirty="0"/>
          </a:p>
        </p:txBody>
      </p:sp>
      <p:sp>
        <p:nvSpPr>
          <p:cNvPr id="4" name="Text Placeholder 3">
            <a:extLst>
              <a:ext uri="{FF2B5EF4-FFF2-40B4-BE49-F238E27FC236}">
                <a16:creationId xmlns:a16="http://schemas.microsoft.com/office/drawing/2014/main" id="{0711DC84-99B9-4440-8CF3-F4AE7F4E9755}"/>
              </a:ext>
            </a:extLst>
          </p:cNvPr>
          <p:cNvSpPr>
            <a:spLocks noGrp="1"/>
          </p:cNvSpPr>
          <p:nvPr>
            <p:ph type="body" sz="quarter" idx="13"/>
          </p:nvPr>
        </p:nvSpPr>
        <p:spPr/>
        <p:txBody>
          <a:bodyPr/>
          <a:lstStyle/>
          <a:p>
            <a:r>
              <a:rPr lang="de-DE" altLang="zh-CN" dirty="0"/>
              <a:t>Compute function structure</a:t>
            </a:r>
            <a:endParaRPr lang="en-GB" altLang="zh-CN" dirty="0"/>
          </a:p>
        </p:txBody>
      </p:sp>
      <p:sp>
        <p:nvSpPr>
          <p:cNvPr id="6" name="Footer Placeholder 5">
            <a:extLst>
              <a:ext uri="{FF2B5EF4-FFF2-40B4-BE49-F238E27FC236}">
                <a16:creationId xmlns:a16="http://schemas.microsoft.com/office/drawing/2014/main" id="{F6E76EFE-3B90-44F6-B7E2-44C41D04FD3F}"/>
              </a:ext>
            </a:extLst>
          </p:cNvPr>
          <p:cNvSpPr>
            <a:spLocks noGrp="1"/>
          </p:cNvSpPr>
          <p:nvPr>
            <p:ph type="ftr" sz="quarter" idx="10"/>
          </p:nvPr>
        </p:nvSpPr>
        <p:spPr/>
        <p:txBody>
          <a:bodyPr/>
          <a:lstStyle/>
          <a:p>
            <a:r>
              <a:rPr lang="en-GB" altLang="zh-CN" dirty="0"/>
              <a:t>Pharma RUG | March 2025</a:t>
            </a:r>
            <a:endParaRPr lang="en-US" altLang="zh-CN" dirty="0"/>
          </a:p>
        </p:txBody>
      </p:sp>
      <p:sp>
        <p:nvSpPr>
          <p:cNvPr id="7" name="Content Placeholder 2">
            <a:extLst>
              <a:ext uri="{FF2B5EF4-FFF2-40B4-BE49-F238E27FC236}">
                <a16:creationId xmlns:a16="http://schemas.microsoft.com/office/drawing/2014/main" id="{18DAA5D1-EB30-B47E-27C1-8EE28908F7EB}"/>
              </a:ext>
            </a:extLst>
          </p:cNvPr>
          <p:cNvSpPr txBox="1">
            <a:spLocks/>
          </p:cNvSpPr>
          <p:nvPr/>
        </p:nvSpPr>
        <p:spPr bwMode="gray">
          <a:xfrm>
            <a:off x="623888" y="786080"/>
            <a:ext cx="11088500" cy="5011469"/>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lang="en-US"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80000" indent="-180000" algn="l" defTabSz="914400" rtl="0" eaLnBrk="1" latinLnBrk="0" hangingPunct="1">
              <a:lnSpc>
                <a:spcPct val="105000"/>
              </a:lnSpc>
              <a:spcBef>
                <a:spcPts val="300"/>
              </a:spcBef>
              <a:spcAft>
                <a:spcPts val="300"/>
              </a:spcAft>
              <a:buClr>
                <a:schemeClr val="accent1"/>
              </a:buClr>
              <a:buFont typeface="Wingdings" panose="05000000000000000000" pitchFamily="2"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360000" indent="-180000" algn="l" defTabSz="914400" rtl="0" eaLnBrk="1" latinLnBrk="0" hangingPunct="1">
              <a:lnSpc>
                <a:spcPct val="105000"/>
              </a:lnSpc>
              <a:spcBef>
                <a:spcPts val="300"/>
              </a:spcBef>
              <a:spcAft>
                <a:spcPts val="300"/>
              </a:spcAft>
              <a:buClr>
                <a:schemeClr val="accent1"/>
              </a:buClr>
              <a:buFont typeface="Symbol" panose="05050102010706020507" pitchFamily="18"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538163"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720725"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de-DE"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9pPr>
          </a:lstStyle>
          <a:p>
            <a:pPr marL="342900" indent="-342900">
              <a:buFont typeface="+mj-lt"/>
              <a:buAutoNum type="arabicPeriod"/>
            </a:pPr>
            <a:endParaRPr lang="en-US" dirty="0"/>
          </a:p>
        </p:txBody>
      </p:sp>
      <p:pic>
        <p:nvPicPr>
          <p:cNvPr id="9" name="Picture 8">
            <a:extLst>
              <a:ext uri="{FF2B5EF4-FFF2-40B4-BE49-F238E27FC236}">
                <a16:creationId xmlns:a16="http://schemas.microsoft.com/office/drawing/2014/main" id="{ACF71FCF-E1C9-2BEE-57BB-32DF8ECE0790}"/>
              </a:ext>
            </a:extLst>
          </p:cNvPr>
          <p:cNvPicPr>
            <a:picLocks noChangeAspect="1"/>
          </p:cNvPicPr>
          <p:nvPr/>
        </p:nvPicPr>
        <p:blipFill>
          <a:blip r:embed="rId2"/>
          <a:stretch>
            <a:fillRect/>
          </a:stretch>
        </p:blipFill>
        <p:spPr>
          <a:xfrm>
            <a:off x="1351366" y="1060451"/>
            <a:ext cx="8560240" cy="4388076"/>
          </a:xfrm>
          <a:prstGeom prst="rect">
            <a:avLst/>
          </a:prstGeom>
        </p:spPr>
      </p:pic>
    </p:spTree>
    <p:extLst>
      <p:ext uri="{BB962C8B-B14F-4D97-AF65-F5344CB8AC3E}">
        <p14:creationId xmlns:p14="http://schemas.microsoft.com/office/powerpoint/2010/main" val="17991721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D52F9DE-C167-40E8-B53C-7D41D8374676}"/>
              </a:ext>
            </a:extLst>
          </p:cNvPr>
          <p:cNvSpPr>
            <a:spLocks noGrp="1"/>
          </p:cNvSpPr>
          <p:nvPr>
            <p:ph type="sldNum" sz="quarter" idx="16"/>
          </p:nvPr>
        </p:nvSpPr>
        <p:spPr/>
        <p:txBody>
          <a:bodyPr/>
          <a:lstStyle/>
          <a:p>
            <a:fld id="{FD5E7EB4-4CDF-47BB-AF16-07782904B863}" type="slidenum">
              <a:rPr lang="en-US" smtClean="0"/>
              <a:pPr/>
              <a:t>13</a:t>
            </a:fld>
            <a:endParaRPr lang="en-US"/>
          </a:p>
        </p:txBody>
      </p:sp>
      <p:sp>
        <p:nvSpPr>
          <p:cNvPr id="3" name="Content Placeholder 2">
            <a:extLst>
              <a:ext uri="{FF2B5EF4-FFF2-40B4-BE49-F238E27FC236}">
                <a16:creationId xmlns:a16="http://schemas.microsoft.com/office/drawing/2014/main" id="{6F407A41-D14D-41B7-863B-ABB0C69CB8D0}"/>
              </a:ext>
            </a:extLst>
          </p:cNvPr>
          <p:cNvSpPr>
            <a:spLocks noGrp="1"/>
          </p:cNvSpPr>
          <p:nvPr>
            <p:ph sz="quarter" idx="14"/>
          </p:nvPr>
        </p:nvSpPr>
        <p:spPr>
          <a:xfrm>
            <a:off x="489418" y="1116281"/>
            <a:ext cx="4146082" cy="1455470"/>
          </a:xfrm>
        </p:spPr>
        <p:txBody>
          <a:bodyPr/>
          <a:lstStyle/>
          <a:p>
            <a:endParaRPr lang="en-US" dirty="0"/>
          </a:p>
          <a:p>
            <a:pPr marL="342900" indent="-342900">
              <a:buFont typeface="+mj-lt"/>
              <a:buAutoNum type="arabicPeriod"/>
            </a:pPr>
            <a:endParaRPr lang="en-GB" dirty="0"/>
          </a:p>
        </p:txBody>
      </p:sp>
      <p:sp>
        <p:nvSpPr>
          <p:cNvPr id="4" name="Text Placeholder 3">
            <a:extLst>
              <a:ext uri="{FF2B5EF4-FFF2-40B4-BE49-F238E27FC236}">
                <a16:creationId xmlns:a16="http://schemas.microsoft.com/office/drawing/2014/main" id="{0711DC84-99B9-4440-8CF3-F4AE7F4E9755}"/>
              </a:ext>
            </a:extLst>
          </p:cNvPr>
          <p:cNvSpPr>
            <a:spLocks noGrp="1"/>
          </p:cNvSpPr>
          <p:nvPr>
            <p:ph type="body" sz="quarter" idx="13"/>
          </p:nvPr>
        </p:nvSpPr>
        <p:spPr/>
        <p:txBody>
          <a:bodyPr/>
          <a:lstStyle/>
          <a:p>
            <a:r>
              <a:rPr lang="de-DE" altLang="zh-CN" dirty="0"/>
              <a:t>Example</a:t>
            </a:r>
            <a:endParaRPr lang="en-GB" altLang="zh-CN" dirty="0"/>
          </a:p>
        </p:txBody>
      </p:sp>
      <p:sp>
        <p:nvSpPr>
          <p:cNvPr id="6" name="Footer Placeholder 5">
            <a:extLst>
              <a:ext uri="{FF2B5EF4-FFF2-40B4-BE49-F238E27FC236}">
                <a16:creationId xmlns:a16="http://schemas.microsoft.com/office/drawing/2014/main" id="{F6E76EFE-3B90-44F6-B7E2-44C41D04FD3F}"/>
              </a:ext>
            </a:extLst>
          </p:cNvPr>
          <p:cNvSpPr>
            <a:spLocks noGrp="1"/>
          </p:cNvSpPr>
          <p:nvPr>
            <p:ph type="ftr" sz="quarter" idx="10"/>
          </p:nvPr>
        </p:nvSpPr>
        <p:spPr/>
        <p:txBody>
          <a:bodyPr/>
          <a:lstStyle/>
          <a:p>
            <a:r>
              <a:rPr lang="en-GB" altLang="zh-CN" dirty="0"/>
              <a:t>Pharma RUG | March 2025</a:t>
            </a:r>
            <a:endParaRPr lang="en-US" altLang="zh-CN" dirty="0"/>
          </a:p>
        </p:txBody>
      </p:sp>
      <p:sp>
        <p:nvSpPr>
          <p:cNvPr id="7" name="Content Placeholder 2">
            <a:extLst>
              <a:ext uri="{FF2B5EF4-FFF2-40B4-BE49-F238E27FC236}">
                <a16:creationId xmlns:a16="http://schemas.microsoft.com/office/drawing/2014/main" id="{18DAA5D1-EB30-B47E-27C1-8EE28908F7EB}"/>
              </a:ext>
            </a:extLst>
          </p:cNvPr>
          <p:cNvSpPr txBox="1">
            <a:spLocks/>
          </p:cNvSpPr>
          <p:nvPr/>
        </p:nvSpPr>
        <p:spPr bwMode="gray">
          <a:xfrm>
            <a:off x="623888" y="786080"/>
            <a:ext cx="11088500" cy="5011469"/>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lang="en-US"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80000" indent="-180000" algn="l" defTabSz="914400" rtl="0" eaLnBrk="1" latinLnBrk="0" hangingPunct="1">
              <a:lnSpc>
                <a:spcPct val="105000"/>
              </a:lnSpc>
              <a:spcBef>
                <a:spcPts val="300"/>
              </a:spcBef>
              <a:spcAft>
                <a:spcPts val="300"/>
              </a:spcAft>
              <a:buClr>
                <a:schemeClr val="accent1"/>
              </a:buClr>
              <a:buFont typeface="Wingdings" panose="05000000000000000000" pitchFamily="2"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360000" indent="-180000" algn="l" defTabSz="914400" rtl="0" eaLnBrk="1" latinLnBrk="0" hangingPunct="1">
              <a:lnSpc>
                <a:spcPct val="105000"/>
              </a:lnSpc>
              <a:spcBef>
                <a:spcPts val="300"/>
              </a:spcBef>
              <a:spcAft>
                <a:spcPts val="300"/>
              </a:spcAft>
              <a:buClr>
                <a:schemeClr val="accent1"/>
              </a:buClr>
              <a:buFont typeface="Symbol" panose="05050102010706020507" pitchFamily="18"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538163"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720725"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de-DE"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9pPr>
          </a:lstStyle>
          <a:p>
            <a:pPr marL="342900" indent="-342900">
              <a:buFont typeface="+mj-lt"/>
              <a:buAutoNum type="arabicPeriod"/>
            </a:pPr>
            <a:endParaRPr lang="en-US" dirty="0"/>
          </a:p>
        </p:txBody>
      </p:sp>
      <p:sp>
        <p:nvSpPr>
          <p:cNvPr id="5" name="Content Placeholder 2">
            <a:extLst>
              <a:ext uri="{FF2B5EF4-FFF2-40B4-BE49-F238E27FC236}">
                <a16:creationId xmlns:a16="http://schemas.microsoft.com/office/drawing/2014/main" id="{EDE06AAC-1CA0-BC4A-3F01-9A82FFC37EB5}"/>
              </a:ext>
            </a:extLst>
          </p:cNvPr>
          <p:cNvSpPr txBox="1">
            <a:spLocks/>
          </p:cNvSpPr>
          <p:nvPr/>
        </p:nvSpPr>
        <p:spPr bwMode="gray">
          <a:xfrm>
            <a:off x="623888" y="866683"/>
            <a:ext cx="5083431" cy="4875037"/>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lang="en-US"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80000" indent="-180000" algn="l" defTabSz="914400" rtl="0" eaLnBrk="1" latinLnBrk="0" hangingPunct="1">
              <a:lnSpc>
                <a:spcPct val="105000"/>
              </a:lnSpc>
              <a:spcBef>
                <a:spcPts val="300"/>
              </a:spcBef>
              <a:spcAft>
                <a:spcPts val="300"/>
              </a:spcAft>
              <a:buClr>
                <a:schemeClr val="accent1"/>
              </a:buClr>
              <a:buFont typeface="Wingdings" panose="05000000000000000000" pitchFamily="2"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360000" indent="-180000" algn="l" defTabSz="914400" rtl="0" eaLnBrk="1" latinLnBrk="0" hangingPunct="1">
              <a:lnSpc>
                <a:spcPct val="105000"/>
              </a:lnSpc>
              <a:spcBef>
                <a:spcPts val="300"/>
              </a:spcBef>
              <a:spcAft>
                <a:spcPts val="300"/>
              </a:spcAft>
              <a:buClr>
                <a:schemeClr val="accent1"/>
              </a:buClr>
              <a:buFont typeface="Symbol" panose="05050102010706020507" pitchFamily="18"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538163"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720725"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de-DE"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9pPr>
          </a:lstStyle>
          <a:p>
            <a:pPr marL="285750" indent="-285750">
              <a:buFontTx/>
              <a:buChar char="-"/>
            </a:pPr>
            <a:r>
              <a:rPr lang="en-US" sz="1200" dirty="0"/>
              <a:t>ALP</a:t>
            </a:r>
          </a:p>
          <a:p>
            <a:pPr marL="465750" lvl="1" indent="-285750">
              <a:buFontTx/>
              <a:buChar char="-"/>
            </a:pPr>
            <a:r>
              <a:rPr lang="en-US" sz="1200" dirty="0"/>
              <a:t>Direction: high only</a:t>
            </a:r>
          </a:p>
          <a:p>
            <a:pPr marL="465750" lvl="1" indent="-285750">
              <a:buFontTx/>
              <a:buChar char="-"/>
            </a:pPr>
            <a:r>
              <a:rPr lang="en-US" sz="1200" dirty="0"/>
              <a:t>Preparation program generates alp function</a:t>
            </a:r>
          </a:p>
          <a:p>
            <a:pPr marL="645750" lvl="2" indent="-285750">
              <a:buFontTx/>
              <a:buChar char="-"/>
            </a:pPr>
            <a:r>
              <a:rPr lang="en-US" sz="1200" dirty="0"/>
              <a:t>Unit: NA</a:t>
            </a:r>
          </a:p>
          <a:p>
            <a:pPr marL="645750" lvl="2" indent="-285750">
              <a:buFontTx/>
              <a:buChar char="-"/>
            </a:pPr>
            <a:r>
              <a:rPr lang="en-US" sz="1200" dirty="0"/>
              <a:t>NCI version: 5.03</a:t>
            </a:r>
          </a:p>
          <a:p>
            <a:pPr marL="645750" lvl="2" indent="-285750">
              <a:buFontTx/>
              <a:buChar char="-"/>
            </a:pPr>
            <a:r>
              <a:rPr lang="en-US" sz="1200" dirty="0"/>
              <a:t>Best or worst score if overlap (worst for ALP-&gt;max)</a:t>
            </a:r>
          </a:p>
          <a:p>
            <a:pPr marL="285750" indent="-285750">
              <a:buFontTx/>
              <a:buChar char="-"/>
            </a:pPr>
            <a:endParaRPr lang="en-US" dirty="0"/>
          </a:p>
        </p:txBody>
      </p:sp>
      <p:pic>
        <p:nvPicPr>
          <p:cNvPr id="10" name="Picture 9">
            <a:extLst>
              <a:ext uri="{FF2B5EF4-FFF2-40B4-BE49-F238E27FC236}">
                <a16:creationId xmlns:a16="http://schemas.microsoft.com/office/drawing/2014/main" id="{E19F6D85-F08C-F385-527E-2190E70DC711}"/>
              </a:ext>
            </a:extLst>
          </p:cNvPr>
          <p:cNvPicPr>
            <a:picLocks noChangeAspect="1"/>
          </p:cNvPicPr>
          <p:nvPr/>
        </p:nvPicPr>
        <p:blipFill>
          <a:blip r:embed="rId2"/>
          <a:stretch>
            <a:fillRect/>
          </a:stretch>
        </p:blipFill>
        <p:spPr>
          <a:xfrm>
            <a:off x="1351239" y="2443161"/>
            <a:ext cx="2927424" cy="3847577"/>
          </a:xfrm>
          <a:prstGeom prst="rect">
            <a:avLst/>
          </a:prstGeom>
        </p:spPr>
      </p:pic>
      <p:cxnSp>
        <p:nvCxnSpPr>
          <p:cNvPr id="14" name="Straight Connector 13">
            <a:extLst>
              <a:ext uri="{FF2B5EF4-FFF2-40B4-BE49-F238E27FC236}">
                <a16:creationId xmlns:a16="http://schemas.microsoft.com/office/drawing/2014/main" id="{BCCCF53F-6817-8237-02B8-30B86D66FB5C}"/>
              </a:ext>
            </a:extLst>
          </p:cNvPr>
          <p:cNvCxnSpPr>
            <a:cxnSpLocks/>
          </p:cNvCxnSpPr>
          <p:nvPr/>
        </p:nvCxnSpPr>
        <p:spPr>
          <a:xfrm flipV="1">
            <a:off x="4210050" y="114300"/>
            <a:ext cx="1600200" cy="267970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D7E3D3D-A127-81C1-5955-A4F900828A58}"/>
              </a:ext>
            </a:extLst>
          </p:cNvPr>
          <p:cNvCxnSpPr>
            <a:cxnSpLocks/>
          </p:cNvCxnSpPr>
          <p:nvPr/>
        </p:nvCxnSpPr>
        <p:spPr>
          <a:xfrm>
            <a:off x="4152900" y="2870200"/>
            <a:ext cx="1657350" cy="330835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96C741E7-A99C-0B06-2B59-FC1EAF4BD33B}"/>
              </a:ext>
            </a:extLst>
          </p:cNvPr>
          <p:cNvPicPr>
            <a:picLocks noChangeAspect="1"/>
          </p:cNvPicPr>
          <p:nvPr/>
        </p:nvPicPr>
        <p:blipFill>
          <a:blip r:embed="rId3"/>
          <a:stretch>
            <a:fillRect/>
          </a:stretch>
        </p:blipFill>
        <p:spPr>
          <a:xfrm>
            <a:off x="5757329" y="0"/>
            <a:ext cx="5202771" cy="6320452"/>
          </a:xfrm>
          <a:prstGeom prst="rect">
            <a:avLst/>
          </a:prstGeom>
        </p:spPr>
      </p:pic>
    </p:spTree>
    <p:extLst>
      <p:ext uri="{BB962C8B-B14F-4D97-AF65-F5344CB8AC3E}">
        <p14:creationId xmlns:p14="http://schemas.microsoft.com/office/powerpoint/2010/main" val="36012307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D52F9DE-C167-40E8-B53C-7D41D8374676}"/>
              </a:ext>
            </a:extLst>
          </p:cNvPr>
          <p:cNvSpPr>
            <a:spLocks noGrp="1"/>
          </p:cNvSpPr>
          <p:nvPr>
            <p:ph type="sldNum" sz="quarter" idx="16"/>
          </p:nvPr>
        </p:nvSpPr>
        <p:spPr/>
        <p:txBody>
          <a:bodyPr/>
          <a:lstStyle/>
          <a:p>
            <a:fld id="{FD5E7EB4-4CDF-47BB-AF16-07782904B863}" type="slidenum">
              <a:rPr lang="en-US" smtClean="0"/>
              <a:pPr/>
              <a:t>14</a:t>
            </a:fld>
            <a:endParaRPr lang="en-US"/>
          </a:p>
        </p:txBody>
      </p:sp>
      <p:sp>
        <p:nvSpPr>
          <p:cNvPr id="3" name="Content Placeholder 2">
            <a:extLst>
              <a:ext uri="{FF2B5EF4-FFF2-40B4-BE49-F238E27FC236}">
                <a16:creationId xmlns:a16="http://schemas.microsoft.com/office/drawing/2014/main" id="{6F407A41-D14D-41B7-863B-ABB0C69CB8D0}"/>
              </a:ext>
            </a:extLst>
          </p:cNvPr>
          <p:cNvSpPr>
            <a:spLocks noGrp="1"/>
          </p:cNvSpPr>
          <p:nvPr>
            <p:ph sz="quarter" idx="14"/>
          </p:nvPr>
        </p:nvSpPr>
        <p:spPr>
          <a:xfrm>
            <a:off x="489418" y="1116281"/>
            <a:ext cx="4146082" cy="1455470"/>
          </a:xfrm>
        </p:spPr>
        <p:txBody>
          <a:bodyPr/>
          <a:lstStyle/>
          <a:p>
            <a:endParaRPr lang="en-US" dirty="0"/>
          </a:p>
          <a:p>
            <a:pPr marL="342900" indent="-342900">
              <a:buFont typeface="+mj-lt"/>
              <a:buAutoNum type="arabicPeriod"/>
            </a:pPr>
            <a:endParaRPr lang="en-GB" dirty="0"/>
          </a:p>
        </p:txBody>
      </p:sp>
      <p:sp>
        <p:nvSpPr>
          <p:cNvPr id="4" name="Text Placeholder 3">
            <a:extLst>
              <a:ext uri="{FF2B5EF4-FFF2-40B4-BE49-F238E27FC236}">
                <a16:creationId xmlns:a16="http://schemas.microsoft.com/office/drawing/2014/main" id="{0711DC84-99B9-4440-8CF3-F4AE7F4E9755}"/>
              </a:ext>
            </a:extLst>
          </p:cNvPr>
          <p:cNvSpPr>
            <a:spLocks noGrp="1"/>
          </p:cNvSpPr>
          <p:nvPr>
            <p:ph type="body" sz="quarter" idx="13"/>
          </p:nvPr>
        </p:nvSpPr>
        <p:spPr/>
        <p:txBody>
          <a:bodyPr/>
          <a:lstStyle/>
          <a:p>
            <a:r>
              <a:rPr lang="de-DE" altLang="zh-CN" dirty="0"/>
              <a:t>Example</a:t>
            </a:r>
            <a:endParaRPr lang="en-GB" altLang="zh-CN" dirty="0"/>
          </a:p>
        </p:txBody>
      </p:sp>
      <p:sp>
        <p:nvSpPr>
          <p:cNvPr id="6" name="Footer Placeholder 5">
            <a:extLst>
              <a:ext uri="{FF2B5EF4-FFF2-40B4-BE49-F238E27FC236}">
                <a16:creationId xmlns:a16="http://schemas.microsoft.com/office/drawing/2014/main" id="{F6E76EFE-3B90-44F6-B7E2-44C41D04FD3F}"/>
              </a:ext>
            </a:extLst>
          </p:cNvPr>
          <p:cNvSpPr>
            <a:spLocks noGrp="1"/>
          </p:cNvSpPr>
          <p:nvPr>
            <p:ph type="ftr" sz="quarter" idx="10"/>
          </p:nvPr>
        </p:nvSpPr>
        <p:spPr/>
        <p:txBody>
          <a:bodyPr/>
          <a:lstStyle/>
          <a:p>
            <a:r>
              <a:rPr lang="en-GB" altLang="zh-CN" dirty="0"/>
              <a:t>Pharma RUG | March 2025</a:t>
            </a:r>
            <a:endParaRPr lang="en-US" altLang="zh-CN" dirty="0"/>
          </a:p>
        </p:txBody>
      </p:sp>
      <p:sp>
        <p:nvSpPr>
          <p:cNvPr id="7" name="Content Placeholder 2">
            <a:extLst>
              <a:ext uri="{FF2B5EF4-FFF2-40B4-BE49-F238E27FC236}">
                <a16:creationId xmlns:a16="http://schemas.microsoft.com/office/drawing/2014/main" id="{18DAA5D1-EB30-B47E-27C1-8EE28908F7EB}"/>
              </a:ext>
            </a:extLst>
          </p:cNvPr>
          <p:cNvSpPr txBox="1">
            <a:spLocks/>
          </p:cNvSpPr>
          <p:nvPr/>
        </p:nvSpPr>
        <p:spPr bwMode="gray">
          <a:xfrm>
            <a:off x="623888" y="786080"/>
            <a:ext cx="11088500" cy="5011469"/>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lang="en-US"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80000" indent="-180000" algn="l" defTabSz="914400" rtl="0" eaLnBrk="1" latinLnBrk="0" hangingPunct="1">
              <a:lnSpc>
                <a:spcPct val="105000"/>
              </a:lnSpc>
              <a:spcBef>
                <a:spcPts val="300"/>
              </a:spcBef>
              <a:spcAft>
                <a:spcPts val="300"/>
              </a:spcAft>
              <a:buClr>
                <a:schemeClr val="accent1"/>
              </a:buClr>
              <a:buFont typeface="Wingdings" panose="05000000000000000000" pitchFamily="2"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360000" indent="-180000" algn="l" defTabSz="914400" rtl="0" eaLnBrk="1" latinLnBrk="0" hangingPunct="1">
              <a:lnSpc>
                <a:spcPct val="105000"/>
              </a:lnSpc>
              <a:spcBef>
                <a:spcPts val="300"/>
              </a:spcBef>
              <a:spcAft>
                <a:spcPts val="300"/>
              </a:spcAft>
              <a:buClr>
                <a:schemeClr val="accent1"/>
              </a:buClr>
              <a:buFont typeface="Symbol" panose="05050102010706020507" pitchFamily="18"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538163"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720725"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de-DE"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9pPr>
          </a:lstStyle>
          <a:p>
            <a:pPr marL="342900" indent="-342900">
              <a:buFont typeface="+mj-lt"/>
              <a:buAutoNum type="arabicPeriod"/>
            </a:pPr>
            <a:endParaRPr lang="en-US" dirty="0"/>
          </a:p>
        </p:txBody>
      </p:sp>
      <p:sp>
        <p:nvSpPr>
          <p:cNvPr id="5" name="Content Placeholder 2">
            <a:extLst>
              <a:ext uri="{FF2B5EF4-FFF2-40B4-BE49-F238E27FC236}">
                <a16:creationId xmlns:a16="http://schemas.microsoft.com/office/drawing/2014/main" id="{EDE06AAC-1CA0-BC4A-3F01-9A82FFC37EB5}"/>
              </a:ext>
            </a:extLst>
          </p:cNvPr>
          <p:cNvSpPr txBox="1">
            <a:spLocks/>
          </p:cNvSpPr>
          <p:nvPr/>
        </p:nvSpPr>
        <p:spPr bwMode="gray">
          <a:xfrm>
            <a:off x="623888" y="866683"/>
            <a:ext cx="5083431" cy="4875037"/>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lang="en-US"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80000" indent="-180000" algn="l" defTabSz="914400" rtl="0" eaLnBrk="1" latinLnBrk="0" hangingPunct="1">
              <a:lnSpc>
                <a:spcPct val="105000"/>
              </a:lnSpc>
              <a:spcBef>
                <a:spcPts val="300"/>
              </a:spcBef>
              <a:spcAft>
                <a:spcPts val="300"/>
              </a:spcAft>
              <a:buClr>
                <a:schemeClr val="accent1"/>
              </a:buClr>
              <a:buFont typeface="Wingdings" panose="05000000000000000000" pitchFamily="2"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360000" indent="-180000" algn="l" defTabSz="914400" rtl="0" eaLnBrk="1" latinLnBrk="0" hangingPunct="1">
              <a:lnSpc>
                <a:spcPct val="105000"/>
              </a:lnSpc>
              <a:spcBef>
                <a:spcPts val="300"/>
              </a:spcBef>
              <a:spcAft>
                <a:spcPts val="300"/>
              </a:spcAft>
              <a:buClr>
                <a:schemeClr val="accent1"/>
              </a:buClr>
              <a:buFont typeface="Symbol" panose="05050102010706020507" pitchFamily="18"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538163"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720725"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de-DE"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9pPr>
          </a:lstStyle>
          <a:p>
            <a:pPr marL="285750" indent="-285750">
              <a:buFontTx/>
              <a:buChar char="-"/>
            </a:pPr>
            <a:r>
              <a:rPr lang="en-US" sz="1200" dirty="0"/>
              <a:t>CACRALB</a:t>
            </a:r>
          </a:p>
          <a:p>
            <a:pPr marL="465750" lvl="1" indent="-285750">
              <a:buFontTx/>
              <a:buChar char="-"/>
            </a:pPr>
            <a:r>
              <a:rPr lang="en-US" sz="1200" dirty="0"/>
              <a:t>Direction: both low and high</a:t>
            </a:r>
          </a:p>
          <a:p>
            <a:pPr marL="465750" lvl="1" indent="-285750">
              <a:buFontTx/>
              <a:buChar char="-"/>
            </a:pPr>
            <a:r>
              <a:rPr lang="en-US" sz="1200" dirty="0"/>
              <a:t>Preparation program generates </a:t>
            </a:r>
            <a:r>
              <a:rPr lang="en-US" sz="1200" dirty="0" err="1"/>
              <a:t>cacralb</a:t>
            </a:r>
            <a:r>
              <a:rPr lang="en-US" sz="1200" dirty="0"/>
              <a:t> function</a:t>
            </a:r>
          </a:p>
          <a:p>
            <a:pPr marL="645750" lvl="2" indent="-285750">
              <a:buFontTx/>
              <a:buChar char="-"/>
            </a:pPr>
            <a:r>
              <a:rPr lang="en-US" sz="1200" dirty="0"/>
              <a:t>Unit: mmol/L</a:t>
            </a:r>
          </a:p>
          <a:p>
            <a:pPr marL="645750" lvl="2" indent="-285750">
              <a:buFontTx/>
              <a:buChar char="-"/>
            </a:pPr>
            <a:r>
              <a:rPr lang="en-US" sz="1200" dirty="0"/>
              <a:t>NCI version: 5.0</a:t>
            </a:r>
          </a:p>
          <a:p>
            <a:pPr marL="645750" lvl="2" indent="-285750">
              <a:buFontTx/>
              <a:buChar char="-"/>
            </a:pPr>
            <a:r>
              <a:rPr lang="en-US" sz="1200" dirty="0"/>
              <a:t>Best or worst taken if overlap (best for CACRALB-&gt;min)</a:t>
            </a:r>
          </a:p>
          <a:p>
            <a:pPr marL="285750" indent="-285750">
              <a:buFontTx/>
              <a:buChar char="-"/>
            </a:pPr>
            <a:endParaRPr lang="en-US" dirty="0"/>
          </a:p>
        </p:txBody>
      </p:sp>
      <p:cxnSp>
        <p:nvCxnSpPr>
          <p:cNvPr id="14" name="Straight Connector 13">
            <a:extLst>
              <a:ext uri="{FF2B5EF4-FFF2-40B4-BE49-F238E27FC236}">
                <a16:creationId xmlns:a16="http://schemas.microsoft.com/office/drawing/2014/main" id="{BCCCF53F-6817-8237-02B8-30B86D66FB5C}"/>
              </a:ext>
            </a:extLst>
          </p:cNvPr>
          <p:cNvCxnSpPr>
            <a:cxnSpLocks/>
          </p:cNvCxnSpPr>
          <p:nvPr/>
        </p:nvCxnSpPr>
        <p:spPr>
          <a:xfrm flipV="1">
            <a:off x="3632200" y="404813"/>
            <a:ext cx="2209589" cy="2446337"/>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D7E3D3D-A127-81C1-5955-A4F900828A58}"/>
              </a:ext>
            </a:extLst>
          </p:cNvPr>
          <p:cNvCxnSpPr>
            <a:cxnSpLocks/>
          </p:cNvCxnSpPr>
          <p:nvPr/>
        </p:nvCxnSpPr>
        <p:spPr>
          <a:xfrm>
            <a:off x="3683392" y="2937474"/>
            <a:ext cx="2126858" cy="3241076"/>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693FE716-2786-9EC5-D869-010A068B2F51}"/>
              </a:ext>
            </a:extLst>
          </p:cNvPr>
          <p:cNvPicPr>
            <a:picLocks noChangeAspect="1"/>
          </p:cNvPicPr>
          <p:nvPr/>
        </p:nvPicPr>
        <p:blipFill>
          <a:blip r:embed="rId2"/>
          <a:stretch>
            <a:fillRect/>
          </a:stretch>
        </p:blipFill>
        <p:spPr>
          <a:xfrm>
            <a:off x="1009794" y="2403163"/>
            <a:ext cx="3043620" cy="3977836"/>
          </a:xfrm>
          <a:prstGeom prst="rect">
            <a:avLst/>
          </a:prstGeom>
        </p:spPr>
      </p:pic>
      <p:pic>
        <p:nvPicPr>
          <p:cNvPr id="20" name="Picture 19">
            <a:extLst>
              <a:ext uri="{FF2B5EF4-FFF2-40B4-BE49-F238E27FC236}">
                <a16:creationId xmlns:a16="http://schemas.microsoft.com/office/drawing/2014/main" id="{3B547F01-FB11-D85D-E99F-6D1C81B4D178}"/>
              </a:ext>
            </a:extLst>
          </p:cNvPr>
          <p:cNvPicPr>
            <a:picLocks noChangeAspect="1"/>
          </p:cNvPicPr>
          <p:nvPr/>
        </p:nvPicPr>
        <p:blipFill>
          <a:blip r:embed="rId3"/>
          <a:stretch>
            <a:fillRect/>
          </a:stretch>
        </p:blipFill>
        <p:spPr>
          <a:xfrm>
            <a:off x="5810250" y="115059"/>
            <a:ext cx="5550720" cy="6265940"/>
          </a:xfrm>
          <a:prstGeom prst="rect">
            <a:avLst/>
          </a:prstGeom>
        </p:spPr>
      </p:pic>
    </p:spTree>
    <p:extLst>
      <p:ext uri="{BB962C8B-B14F-4D97-AF65-F5344CB8AC3E}">
        <p14:creationId xmlns:p14="http://schemas.microsoft.com/office/powerpoint/2010/main" val="36691069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28938F5-C239-4DE8-A440-C276FC89306C}"/>
              </a:ext>
            </a:extLst>
          </p:cNvPr>
          <p:cNvSpPr>
            <a:spLocks noGrp="1"/>
          </p:cNvSpPr>
          <p:nvPr>
            <p:ph type="title"/>
          </p:nvPr>
        </p:nvSpPr>
        <p:spPr>
          <a:xfrm>
            <a:off x="7023100" y="1879992"/>
            <a:ext cx="4810527" cy="1734697"/>
          </a:xfrm>
        </p:spPr>
        <p:txBody>
          <a:bodyPr/>
          <a:lstStyle/>
          <a:p>
            <a:r>
              <a:rPr lang="de-DE" altLang="zh-CN" dirty="0"/>
              <a:t>Limitations and possible improvements</a:t>
            </a:r>
            <a:endParaRPr lang="en-GB" altLang="zh-CN" dirty="0"/>
          </a:p>
        </p:txBody>
      </p:sp>
    </p:spTree>
    <p:extLst>
      <p:ext uri="{BB962C8B-B14F-4D97-AF65-F5344CB8AC3E}">
        <p14:creationId xmlns:p14="http://schemas.microsoft.com/office/powerpoint/2010/main" val="35732803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D52F9DE-C167-40E8-B53C-7D41D8374676}"/>
              </a:ext>
            </a:extLst>
          </p:cNvPr>
          <p:cNvSpPr>
            <a:spLocks noGrp="1"/>
          </p:cNvSpPr>
          <p:nvPr>
            <p:ph type="sldNum" sz="quarter" idx="16"/>
          </p:nvPr>
        </p:nvSpPr>
        <p:spPr/>
        <p:txBody>
          <a:bodyPr/>
          <a:lstStyle/>
          <a:p>
            <a:fld id="{FD5E7EB4-4CDF-47BB-AF16-07782904B863}" type="slidenum">
              <a:rPr lang="en-US" smtClean="0"/>
              <a:pPr/>
              <a:t>16</a:t>
            </a:fld>
            <a:endParaRPr lang="en-US"/>
          </a:p>
        </p:txBody>
      </p:sp>
      <p:sp>
        <p:nvSpPr>
          <p:cNvPr id="3" name="Content Placeholder 2">
            <a:extLst>
              <a:ext uri="{FF2B5EF4-FFF2-40B4-BE49-F238E27FC236}">
                <a16:creationId xmlns:a16="http://schemas.microsoft.com/office/drawing/2014/main" id="{6F407A41-D14D-41B7-863B-ABB0C69CB8D0}"/>
              </a:ext>
            </a:extLst>
          </p:cNvPr>
          <p:cNvSpPr>
            <a:spLocks noGrp="1"/>
          </p:cNvSpPr>
          <p:nvPr>
            <p:ph sz="quarter" idx="14"/>
          </p:nvPr>
        </p:nvSpPr>
        <p:spPr>
          <a:xfrm>
            <a:off x="489417" y="1116281"/>
            <a:ext cx="11222971" cy="1874426"/>
          </a:xfrm>
        </p:spPr>
        <p:txBody>
          <a:bodyPr/>
          <a:lstStyle/>
          <a:p>
            <a:pPr marL="285750" indent="-285750">
              <a:buFontTx/>
              <a:buChar char="-"/>
            </a:pPr>
            <a:r>
              <a:rPr lang="en-US" dirty="0"/>
              <a:t>Limitations</a:t>
            </a:r>
          </a:p>
          <a:p>
            <a:pPr marL="465750" lvl="1" indent="-285750">
              <a:buFontTx/>
              <a:buChar char="-"/>
            </a:pPr>
            <a:r>
              <a:rPr lang="en-US" altLang="zh-CN" dirty="0"/>
              <a:t>Condition in definition file is SAS due to SME</a:t>
            </a:r>
          </a:p>
          <a:p>
            <a:pPr marL="465750" lvl="1" indent="-285750">
              <a:buFontTx/>
              <a:buChar char="-"/>
            </a:pPr>
            <a:r>
              <a:rPr lang="en-US" altLang="zh-CN" dirty="0"/>
              <a:t>Generation of R function is achieved by concatenating R code</a:t>
            </a:r>
            <a:endParaRPr lang="en-US" dirty="0"/>
          </a:p>
          <a:p>
            <a:pPr marL="285750" indent="-285750">
              <a:buFontTx/>
              <a:buChar char="-"/>
            </a:pPr>
            <a:r>
              <a:rPr lang="en-US" dirty="0"/>
              <a:t>Possible improvements</a:t>
            </a:r>
            <a:endParaRPr lang="en-GB" dirty="0"/>
          </a:p>
          <a:p>
            <a:pPr marL="465750" lvl="1" indent="-285750">
              <a:buFontTx/>
              <a:buChar char="-"/>
            </a:pPr>
            <a:r>
              <a:rPr lang="en-GB" dirty="0"/>
              <a:t>Language agnostic condition</a:t>
            </a:r>
          </a:p>
          <a:p>
            <a:pPr marL="465750" lvl="1" indent="-285750">
              <a:buFontTx/>
              <a:buChar char="-"/>
            </a:pPr>
            <a:r>
              <a:rPr lang="en-GB" dirty="0"/>
              <a:t>Generate R function in a more “structural” way</a:t>
            </a:r>
            <a:endParaRPr lang="en-US" dirty="0"/>
          </a:p>
        </p:txBody>
      </p:sp>
      <p:sp>
        <p:nvSpPr>
          <p:cNvPr id="4" name="Text Placeholder 3">
            <a:extLst>
              <a:ext uri="{FF2B5EF4-FFF2-40B4-BE49-F238E27FC236}">
                <a16:creationId xmlns:a16="http://schemas.microsoft.com/office/drawing/2014/main" id="{0711DC84-99B9-4440-8CF3-F4AE7F4E9755}"/>
              </a:ext>
            </a:extLst>
          </p:cNvPr>
          <p:cNvSpPr>
            <a:spLocks noGrp="1"/>
          </p:cNvSpPr>
          <p:nvPr>
            <p:ph type="body" sz="quarter" idx="13"/>
          </p:nvPr>
        </p:nvSpPr>
        <p:spPr/>
        <p:txBody>
          <a:bodyPr/>
          <a:lstStyle/>
          <a:p>
            <a:r>
              <a:rPr lang="de-DE" altLang="zh-CN" dirty="0"/>
              <a:t>Limitations and possible improvements</a:t>
            </a:r>
            <a:endParaRPr lang="en-GB" altLang="zh-CN" dirty="0"/>
          </a:p>
        </p:txBody>
      </p:sp>
      <p:sp>
        <p:nvSpPr>
          <p:cNvPr id="6" name="Footer Placeholder 5">
            <a:extLst>
              <a:ext uri="{FF2B5EF4-FFF2-40B4-BE49-F238E27FC236}">
                <a16:creationId xmlns:a16="http://schemas.microsoft.com/office/drawing/2014/main" id="{F6E76EFE-3B90-44F6-B7E2-44C41D04FD3F}"/>
              </a:ext>
            </a:extLst>
          </p:cNvPr>
          <p:cNvSpPr>
            <a:spLocks noGrp="1"/>
          </p:cNvSpPr>
          <p:nvPr>
            <p:ph type="ftr" sz="quarter" idx="10"/>
          </p:nvPr>
        </p:nvSpPr>
        <p:spPr/>
        <p:txBody>
          <a:bodyPr/>
          <a:lstStyle/>
          <a:p>
            <a:r>
              <a:rPr lang="en-GB" altLang="zh-CN" dirty="0"/>
              <a:t>Pharma RUG | March 2025</a:t>
            </a:r>
            <a:endParaRPr lang="en-US" altLang="zh-CN" dirty="0"/>
          </a:p>
        </p:txBody>
      </p:sp>
      <p:sp>
        <p:nvSpPr>
          <p:cNvPr id="7" name="Content Placeholder 2">
            <a:extLst>
              <a:ext uri="{FF2B5EF4-FFF2-40B4-BE49-F238E27FC236}">
                <a16:creationId xmlns:a16="http://schemas.microsoft.com/office/drawing/2014/main" id="{18DAA5D1-EB30-B47E-27C1-8EE28908F7EB}"/>
              </a:ext>
            </a:extLst>
          </p:cNvPr>
          <p:cNvSpPr txBox="1">
            <a:spLocks/>
          </p:cNvSpPr>
          <p:nvPr/>
        </p:nvSpPr>
        <p:spPr bwMode="gray">
          <a:xfrm>
            <a:off x="623888" y="786080"/>
            <a:ext cx="11088500" cy="5011469"/>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lang="en-US"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80000" indent="-180000" algn="l" defTabSz="914400" rtl="0" eaLnBrk="1" latinLnBrk="0" hangingPunct="1">
              <a:lnSpc>
                <a:spcPct val="105000"/>
              </a:lnSpc>
              <a:spcBef>
                <a:spcPts val="300"/>
              </a:spcBef>
              <a:spcAft>
                <a:spcPts val="300"/>
              </a:spcAft>
              <a:buClr>
                <a:schemeClr val="accent1"/>
              </a:buClr>
              <a:buFont typeface="Wingdings" panose="05000000000000000000" pitchFamily="2"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360000" indent="-180000" algn="l" defTabSz="914400" rtl="0" eaLnBrk="1" latinLnBrk="0" hangingPunct="1">
              <a:lnSpc>
                <a:spcPct val="105000"/>
              </a:lnSpc>
              <a:spcBef>
                <a:spcPts val="300"/>
              </a:spcBef>
              <a:spcAft>
                <a:spcPts val="300"/>
              </a:spcAft>
              <a:buClr>
                <a:schemeClr val="accent1"/>
              </a:buClr>
              <a:buFont typeface="Symbol" panose="05050102010706020507" pitchFamily="18"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538163"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720725"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de-DE"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9pPr>
          </a:lstStyle>
          <a:p>
            <a:pPr marL="342900" indent="-342900">
              <a:buFont typeface="+mj-lt"/>
              <a:buAutoNum type="arabicPeriod"/>
            </a:pPr>
            <a:endParaRPr lang="en-US" dirty="0"/>
          </a:p>
        </p:txBody>
      </p:sp>
      <p:sp>
        <p:nvSpPr>
          <p:cNvPr id="5" name="Content Placeholder 2">
            <a:extLst>
              <a:ext uri="{FF2B5EF4-FFF2-40B4-BE49-F238E27FC236}">
                <a16:creationId xmlns:a16="http://schemas.microsoft.com/office/drawing/2014/main" id="{EDE06AAC-1CA0-BC4A-3F01-9A82FFC37EB5}"/>
              </a:ext>
            </a:extLst>
          </p:cNvPr>
          <p:cNvSpPr txBox="1">
            <a:spLocks/>
          </p:cNvSpPr>
          <p:nvPr/>
        </p:nvSpPr>
        <p:spPr bwMode="gray">
          <a:xfrm>
            <a:off x="623888" y="866683"/>
            <a:ext cx="5083431" cy="4875037"/>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lang="en-US"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80000" indent="-180000" algn="l" defTabSz="914400" rtl="0" eaLnBrk="1" latinLnBrk="0" hangingPunct="1">
              <a:lnSpc>
                <a:spcPct val="105000"/>
              </a:lnSpc>
              <a:spcBef>
                <a:spcPts val="300"/>
              </a:spcBef>
              <a:spcAft>
                <a:spcPts val="300"/>
              </a:spcAft>
              <a:buClr>
                <a:schemeClr val="accent1"/>
              </a:buClr>
              <a:buFont typeface="Wingdings" panose="05000000000000000000" pitchFamily="2"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360000" indent="-180000" algn="l" defTabSz="914400" rtl="0" eaLnBrk="1" latinLnBrk="0" hangingPunct="1">
              <a:lnSpc>
                <a:spcPct val="105000"/>
              </a:lnSpc>
              <a:spcBef>
                <a:spcPts val="300"/>
              </a:spcBef>
              <a:spcAft>
                <a:spcPts val="300"/>
              </a:spcAft>
              <a:buClr>
                <a:schemeClr val="accent1"/>
              </a:buClr>
              <a:buFont typeface="Symbol" panose="05050102010706020507" pitchFamily="18"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538163"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720725"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de-DE"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9pPr>
          </a:lstStyle>
          <a:p>
            <a:pPr marL="285750" indent="-285750">
              <a:buFontTx/>
              <a:buChar char="-"/>
            </a:pPr>
            <a:endParaRPr lang="en-US" dirty="0"/>
          </a:p>
        </p:txBody>
      </p:sp>
    </p:spTree>
    <p:extLst>
      <p:ext uri="{BB962C8B-B14F-4D97-AF65-F5344CB8AC3E}">
        <p14:creationId xmlns:p14="http://schemas.microsoft.com/office/powerpoint/2010/main" val="34328246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F2A60A-1D00-423D-8F87-5CA46861187B}"/>
              </a:ext>
            </a:extLst>
          </p:cNvPr>
          <p:cNvSpPr>
            <a:spLocks noGrp="1"/>
          </p:cNvSpPr>
          <p:nvPr>
            <p:ph type="title"/>
          </p:nvPr>
        </p:nvSpPr>
        <p:spPr>
          <a:xfrm rot="19737348">
            <a:off x="1940470" y="4295330"/>
            <a:ext cx="3304312" cy="626701"/>
          </a:xfrm>
        </p:spPr>
        <p:txBody>
          <a:bodyPr/>
          <a:lstStyle/>
          <a:p>
            <a:r>
              <a:rPr lang="en-US" dirty="0">
                <a:solidFill>
                  <a:schemeClr val="accent1"/>
                </a:solidFill>
              </a:rPr>
              <a:t>Questions? </a:t>
            </a:r>
            <a:endParaRPr lang="en-IE" dirty="0">
              <a:solidFill>
                <a:schemeClr val="accent1"/>
              </a:solidFill>
            </a:endParaRPr>
          </a:p>
        </p:txBody>
      </p:sp>
      <p:sp>
        <p:nvSpPr>
          <p:cNvPr id="3" name="Title 1">
            <a:extLst>
              <a:ext uri="{FF2B5EF4-FFF2-40B4-BE49-F238E27FC236}">
                <a16:creationId xmlns:a16="http://schemas.microsoft.com/office/drawing/2014/main" id="{5BDDAFCF-CFE6-4701-AC6F-0189760F850D}"/>
              </a:ext>
            </a:extLst>
          </p:cNvPr>
          <p:cNvSpPr txBox="1">
            <a:spLocks/>
          </p:cNvSpPr>
          <p:nvPr/>
        </p:nvSpPr>
        <p:spPr bwMode="gray">
          <a:xfrm rot="1793693">
            <a:off x="6935879" y="1976274"/>
            <a:ext cx="3573942" cy="626701"/>
          </a:xfrm>
          <a:prstGeom prst="rect">
            <a:avLst/>
          </a:prstGeom>
          <a:noFill/>
        </p:spPr>
        <p:txBody>
          <a:bodyPr vert="horz" wrap="square" lIns="0" tIns="72000" rIns="0" bIns="0" rtlCol="0" anchor="t" anchorCtr="0">
            <a:spAutoFit/>
          </a:bodyPr>
          <a:lstStyle>
            <a:lvl1pPr algn="l" defTabSz="914400" rtl="0" eaLnBrk="1" latinLnBrk="0" hangingPunct="1">
              <a:lnSpc>
                <a:spcPct val="100000"/>
              </a:lnSpc>
              <a:spcBef>
                <a:spcPct val="0"/>
              </a:spcBef>
              <a:buNone/>
              <a:defRPr lang="de-DE" sz="3600" b="1" kern="1200" cap="none" baseline="0">
                <a:solidFill>
                  <a:schemeClr val="bg2"/>
                </a:solidFill>
                <a:latin typeface="Merck" panose="04040805020F02020302" pitchFamily="82" charset="0"/>
                <a:ea typeface="Verdana" panose="020B0604030504040204" pitchFamily="34" charset="0"/>
                <a:cs typeface="Verdana" panose="020B0604030504040204" pitchFamily="34" charset="0"/>
              </a:defRPr>
            </a:lvl1pPr>
          </a:lstStyle>
          <a:p>
            <a:r>
              <a:rPr lang="en-US" dirty="0"/>
              <a:t>Questions? </a:t>
            </a:r>
            <a:endParaRPr lang="en-IE" dirty="0"/>
          </a:p>
        </p:txBody>
      </p:sp>
    </p:spTree>
    <p:extLst>
      <p:ext uri="{BB962C8B-B14F-4D97-AF65-F5344CB8AC3E}">
        <p14:creationId xmlns:p14="http://schemas.microsoft.com/office/powerpoint/2010/main" val="2474573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D52F9DE-C167-40E8-B53C-7D41D8374676}"/>
              </a:ext>
            </a:extLst>
          </p:cNvPr>
          <p:cNvSpPr>
            <a:spLocks noGrp="1"/>
          </p:cNvSpPr>
          <p:nvPr>
            <p:ph type="sldNum" sz="quarter" idx="16"/>
          </p:nvPr>
        </p:nvSpPr>
        <p:spPr/>
        <p:txBody>
          <a:bodyPr/>
          <a:lstStyle/>
          <a:p>
            <a:fld id="{FD5E7EB4-4CDF-47BB-AF16-07782904B863}" type="slidenum">
              <a:rPr lang="en-US" smtClean="0"/>
              <a:pPr/>
              <a:t>2</a:t>
            </a:fld>
            <a:endParaRPr lang="en-US"/>
          </a:p>
        </p:txBody>
      </p:sp>
      <p:sp>
        <p:nvSpPr>
          <p:cNvPr id="3" name="Content Placeholder 2">
            <a:extLst>
              <a:ext uri="{FF2B5EF4-FFF2-40B4-BE49-F238E27FC236}">
                <a16:creationId xmlns:a16="http://schemas.microsoft.com/office/drawing/2014/main" id="{6F407A41-D14D-41B7-863B-ABB0C69CB8D0}"/>
              </a:ext>
            </a:extLst>
          </p:cNvPr>
          <p:cNvSpPr>
            <a:spLocks noGrp="1"/>
          </p:cNvSpPr>
          <p:nvPr>
            <p:ph sz="quarter" idx="14"/>
          </p:nvPr>
        </p:nvSpPr>
        <p:spPr>
          <a:xfrm>
            <a:off x="489418" y="1116280"/>
            <a:ext cx="11222970" cy="4875037"/>
          </a:xfrm>
        </p:spPr>
        <p:txBody>
          <a:bodyPr/>
          <a:lstStyle/>
          <a:p>
            <a:r>
              <a:rPr lang="en-US" altLang="zh-CN" dirty="0"/>
              <a:t>-   Introduction</a:t>
            </a:r>
          </a:p>
          <a:p>
            <a:pPr marL="285750" indent="-285750">
              <a:buFontTx/>
              <a:buChar char="-"/>
            </a:pPr>
            <a:r>
              <a:rPr lang="en-US" altLang="zh-CN" dirty="0"/>
              <a:t>Main consideration and solution</a:t>
            </a:r>
          </a:p>
          <a:p>
            <a:pPr marL="285750" indent="-285750">
              <a:buFontTx/>
              <a:buChar char="-"/>
            </a:pPr>
            <a:r>
              <a:rPr lang="en-US" altLang="zh-CN" dirty="0"/>
              <a:t>Implementation</a:t>
            </a:r>
          </a:p>
          <a:p>
            <a:pPr marL="285750" indent="-285750">
              <a:buFontTx/>
              <a:buChar char="-"/>
            </a:pPr>
            <a:r>
              <a:rPr lang="en-US" altLang="zh-CN" dirty="0"/>
              <a:t>Limitations &amp; possible improvements</a:t>
            </a:r>
          </a:p>
          <a:p>
            <a:pPr marL="285750" indent="-285750">
              <a:buFontTx/>
              <a:buChar char="-"/>
            </a:pPr>
            <a:r>
              <a:rPr lang="en-US" dirty="0"/>
              <a:t>Q&amp;A</a:t>
            </a:r>
          </a:p>
          <a:p>
            <a:endParaRPr lang="en-US" dirty="0"/>
          </a:p>
          <a:p>
            <a:pPr marL="342900" indent="-342900">
              <a:buFont typeface="+mj-lt"/>
              <a:buAutoNum type="arabicPeriod"/>
            </a:pPr>
            <a:endParaRPr lang="en-GB" dirty="0"/>
          </a:p>
        </p:txBody>
      </p:sp>
      <p:sp>
        <p:nvSpPr>
          <p:cNvPr id="4" name="Text Placeholder 3">
            <a:extLst>
              <a:ext uri="{FF2B5EF4-FFF2-40B4-BE49-F238E27FC236}">
                <a16:creationId xmlns:a16="http://schemas.microsoft.com/office/drawing/2014/main" id="{0711DC84-99B9-4440-8CF3-F4AE7F4E9755}"/>
              </a:ext>
            </a:extLst>
          </p:cNvPr>
          <p:cNvSpPr>
            <a:spLocks noGrp="1"/>
          </p:cNvSpPr>
          <p:nvPr>
            <p:ph type="body" sz="quarter" idx="13"/>
          </p:nvPr>
        </p:nvSpPr>
        <p:spPr/>
        <p:txBody>
          <a:bodyPr/>
          <a:lstStyle/>
          <a:p>
            <a:r>
              <a:rPr lang="en-US" altLang="zh-CN" dirty="0"/>
              <a:t>Index</a:t>
            </a:r>
            <a:endParaRPr lang="en-GB" dirty="0"/>
          </a:p>
        </p:txBody>
      </p:sp>
      <p:sp>
        <p:nvSpPr>
          <p:cNvPr id="6" name="Footer Placeholder 5">
            <a:extLst>
              <a:ext uri="{FF2B5EF4-FFF2-40B4-BE49-F238E27FC236}">
                <a16:creationId xmlns:a16="http://schemas.microsoft.com/office/drawing/2014/main" id="{F6E76EFE-3B90-44F6-B7E2-44C41D04FD3F}"/>
              </a:ext>
            </a:extLst>
          </p:cNvPr>
          <p:cNvSpPr>
            <a:spLocks noGrp="1"/>
          </p:cNvSpPr>
          <p:nvPr>
            <p:ph type="ftr" sz="quarter" idx="10"/>
          </p:nvPr>
        </p:nvSpPr>
        <p:spPr/>
        <p:txBody>
          <a:bodyPr/>
          <a:lstStyle/>
          <a:p>
            <a:r>
              <a:rPr lang="en-GB" dirty="0"/>
              <a:t>Pharma RUG | March 2025</a:t>
            </a:r>
            <a:endParaRPr lang="en-US" dirty="0"/>
          </a:p>
        </p:txBody>
      </p:sp>
    </p:spTree>
    <p:extLst>
      <p:ext uri="{BB962C8B-B14F-4D97-AF65-F5344CB8AC3E}">
        <p14:creationId xmlns:p14="http://schemas.microsoft.com/office/powerpoint/2010/main" val="12359575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28938F5-C239-4DE8-A440-C276FC89306C}"/>
              </a:ext>
            </a:extLst>
          </p:cNvPr>
          <p:cNvSpPr>
            <a:spLocks noGrp="1"/>
          </p:cNvSpPr>
          <p:nvPr>
            <p:ph type="title"/>
          </p:nvPr>
        </p:nvSpPr>
        <p:spPr>
          <a:xfrm>
            <a:off x="7176119" y="1879992"/>
            <a:ext cx="4657508" cy="626701"/>
          </a:xfrm>
        </p:spPr>
        <p:txBody>
          <a:bodyPr/>
          <a:lstStyle/>
          <a:p>
            <a:r>
              <a:rPr lang="en-US" dirty="0"/>
              <a:t>Introduction</a:t>
            </a:r>
            <a:endParaRPr lang="en-GB" dirty="0"/>
          </a:p>
        </p:txBody>
      </p:sp>
    </p:spTree>
    <p:extLst>
      <p:ext uri="{BB962C8B-B14F-4D97-AF65-F5344CB8AC3E}">
        <p14:creationId xmlns:p14="http://schemas.microsoft.com/office/powerpoint/2010/main" val="17826933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D52F9DE-C167-40E8-B53C-7D41D8374676}"/>
              </a:ext>
            </a:extLst>
          </p:cNvPr>
          <p:cNvSpPr>
            <a:spLocks noGrp="1"/>
          </p:cNvSpPr>
          <p:nvPr>
            <p:ph type="sldNum" sz="quarter" idx="16"/>
          </p:nvPr>
        </p:nvSpPr>
        <p:spPr/>
        <p:txBody>
          <a:bodyPr/>
          <a:lstStyle/>
          <a:p>
            <a:fld id="{FD5E7EB4-4CDF-47BB-AF16-07782904B863}" type="slidenum">
              <a:rPr lang="en-US" smtClean="0"/>
              <a:pPr/>
              <a:t>4</a:t>
            </a:fld>
            <a:endParaRPr lang="en-US"/>
          </a:p>
        </p:txBody>
      </p:sp>
      <p:sp>
        <p:nvSpPr>
          <p:cNvPr id="3" name="Content Placeholder 2">
            <a:extLst>
              <a:ext uri="{FF2B5EF4-FFF2-40B4-BE49-F238E27FC236}">
                <a16:creationId xmlns:a16="http://schemas.microsoft.com/office/drawing/2014/main" id="{6F407A41-D14D-41B7-863B-ABB0C69CB8D0}"/>
              </a:ext>
            </a:extLst>
          </p:cNvPr>
          <p:cNvSpPr>
            <a:spLocks noGrp="1"/>
          </p:cNvSpPr>
          <p:nvPr>
            <p:ph sz="quarter" idx="14"/>
          </p:nvPr>
        </p:nvSpPr>
        <p:spPr>
          <a:xfrm>
            <a:off x="489418" y="1116280"/>
            <a:ext cx="11222970" cy="4875037"/>
          </a:xfrm>
        </p:spPr>
        <p:txBody>
          <a:bodyPr/>
          <a:lstStyle/>
          <a:p>
            <a:r>
              <a:rPr lang="en-US" altLang="zh-CN" dirty="0"/>
              <a:t>Laboratory results can be classified into severity (toxicity) grades based on the National Cancer Institute (NCI) Common Terminology Criteria (CTC) for Adverse Events. Currently NCI document versions 4.03 and 5.0 can be used to assign grades.</a:t>
            </a:r>
          </a:p>
          <a:p>
            <a:pPr marL="342900" indent="-342900">
              <a:buAutoNum type="arabicPeriod"/>
            </a:pPr>
            <a:endParaRPr lang="en-US" dirty="0"/>
          </a:p>
          <a:p>
            <a:endParaRPr lang="en-US" dirty="0"/>
          </a:p>
          <a:p>
            <a:endParaRPr lang="en-US" dirty="0"/>
          </a:p>
          <a:p>
            <a:pPr marL="342900" indent="-342900">
              <a:buFont typeface="+mj-lt"/>
              <a:buAutoNum type="arabicPeriod"/>
            </a:pPr>
            <a:endParaRPr lang="en-GB" dirty="0"/>
          </a:p>
        </p:txBody>
      </p:sp>
      <p:sp>
        <p:nvSpPr>
          <p:cNvPr id="4" name="Text Placeholder 3">
            <a:extLst>
              <a:ext uri="{FF2B5EF4-FFF2-40B4-BE49-F238E27FC236}">
                <a16:creationId xmlns:a16="http://schemas.microsoft.com/office/drawing/2014/main" id="{0711DC84-99B9-4440-8CF3-F4AE7F4E9755}"/>
              </a:ext>
            </a:extLst>
          </p:cNvPr>
          <p:cNvSpPr>
            <a:spLocks noGrp="1"/>
          </p:cNvSpPr>
          <p:nvPr>
            <p:ph type="body" sz="quarter" idx="13"/>
          </p:nvPr>
        </p:nvSpPr>
        <p:spPr/>
        <p:txBody>
          <a:bodyPr/>
          <a:lstStyle/>
          <a:p>
            <a:r>
              <a:rPr lang="en-US" dirty="0"/>
              <a:t>Introduction</a:t>
            </a:r>
            <a:endParaRPr lang="en-GB" dirty="0"/>
          </a:p>
        </p:txBody>
      </p:sp>
      <p:sp>
        <p:nvSpPr>
          <p:cNvPr id="6" name="Footer Placeholder 5">
            <a:extLst>
              <a:ext uri="{FF2B5EF4-FFF2-40B4-BE49-F238E27FC236}">
                <a16:creationId xmlns:a16="http://schemas.microsoft.com/office/drawing/2014/main" id="{F6E76EFE-3B90-44F6-B7E2-44C41D04FD3F}"/>
              </a:ext>
            </a:extLst>
          </p:cNvPr>
          <p:cNvSpPr>
            <a:spLocks noGrp="1"/>
          </p:cNvSpPr>
          <p:nvPr>
            <p:ph type="ftr" sz="quarter" idx="10"/>
          </p:nvPr>
        </p:nvSpPr>
        <p:spPr/>
        <p:txBody>
          <a:bodyPr/>
          <a:lstStyle/>
          <a:p>
            <a:r>
              <a:rPr lang="en-GB" altLang="zh-CN" dirty="0"/>
              <a:t>Pharma RUG | March 2025</a:t>
            </a:r>
            <a:endParaRPr lang="en-US" altLang="zh-CN" dirty="0"/>
          </a:p>
        </p:txBody>
      </p:sp>
      <p:pic>
        <p:nvPicPr>
          <p:cNvPr id="5" name="Content Placeholder 9">
            <a:extLst>
              <a:ext uri="{FF2B5EF4-FFF2-40B4-BE49-F238E27FC236}">
                <a16:creationId xmlns:a16="http://schemas.microsoft.com/office/drawing/2014/main" id="{A5D07198-551B-72A9-CCA0-7681419939D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1103452" y="1845037"/>
            <a:ext cx="10537440" cy="4608512"/>
          </a:xfrm>
          <a:prstGeom prst="rect">
            <a:avLst/>
          </a:prstGeom>
        </p:spPr>
      </p:pic>
      <p:sp>
        <p:nvSpPr>
          <p:cNvPr id="7" name="Speech Bubble: Rectangle with Corners Rounded 6">
            <a:extLst>
              <a:ext uri="{FF2B5EF4-FFF2-40B4-BE49-F238E27FC236}">
                <a16:creationId xmlns:a16="http://schemas.microsoft.com/office/drawing/2014/main" id="{88EA3139-1A0A-1359-643F-B6AF443EA619}"/>
              </a:ext>
            </a:extLst>
          </p:cNvPr>
          <p:cNvSpPr/>
          <p:nvPr/>
        </p:nvSpPr>
        <p:spPr bwMode="gray">
          <a:xfrm>
            <a:off x="6500552" y="1634835"/>
            <a:ext cx="3478559" cy="487681"/>
          </a:xfrm>
          <a:prstGeom prst="wedgeRoundRectCallout">
            <a:avLst/>
          </a:prstGeom>
          <a:solidFill>
            <a:schemeClr val="accent4">
              <a:lumMod val="40000"/>
              <a:lumOff val="60000"/>
              <a:alpha val="50000"/>
            </a:schemeClr>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r>
              <a:rPr lang="de-DE" sz="1200" kern="0" dirty="0">
                <a:latin typeface="Verdana"/>
              </a:rPr>
              <a:t>We included each specified unit possibility + our Merck internal standard units</a:t>
            </a:r>
          </a:p>
        </p:txBody>
      </p:sp>
      <p:sp>
        <p:nvSpPr>
          <p:cNvPr id="8" name="Speech Bubble: Rectangle with Corners Rounded 7">
            <a:extLst>
              <a:ext uri="{FF2B5EF4-FFF2-40B4-BE49-F238E27FC236}">
                <a16:creationId xmlns:a16="http://schemas.microsoft.com/office/drawing/2014/main" id="{05D2C14E-5EAD-5060-EEC1-3727B262DB1F}"/>
              </a:ext>
            </a:extLst>
          </p:cNvPr>
          <p:cNvSpPr/>
          <p:nvPr/>
        </p:nvSpPr>
        <p:spPr bwMode="gray">
          <a:xfrm>
            <a:off x="467516" y="4581341"/>
            <a:ext cx="2520280" cy="648072"/>
          </a:xfrm>
          <a:prstGeom prst="wedgeRoundRectCallout">
            <a:avLst>
              <a:gd name="adj1" fmla="val 80839"/>
              <a:gd name="adj2" fmla="val 21643"/>
              <a:gd name="adj3" fmla="val 16667"/>
            </a:avLst>
          </a:prstGeom>
          <a:solidFill>
            <a:schemeClr val="accent4">
              <a:lumMod val="40000"/>
              <a:lumOff val="60000"/>
              <a:alpha val="50000"/>
            </a:schemeClr>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r>
              <a:rPr lang="de-DE" sz="1200" kern="0" dirty="0">
                <a:latin typeface="Verdana"/>
              </a:rPr>
              <a:t>Medical assessments not possible to assess, ignored</a:t>
            </a:r>
          </a:p>
        </p:txBody>
      </p:sp>
      <p:sp>
        <p:nvSpPr>
          <p:cNvPr id="9" name="Speech Bubble: Rectangle with Corners Rounded 8">
            <a:extLst>
              <a:ext uri="{FF2B5EF4-FFF2-40B4-BE49-F238E27FC236}">
                <a16:creationId xmlns:a16="http://schemas.microsoft.com/office/drawing/2014/main" id="{B01F58FB-7ADC-D87A-895C-C26ED622E121}"/>
              </a:ext>
            </a:extLst>
          </p:cNvPr>
          <p:cNvSpPr/>
          <p:nvPr/>
        </p:nvSpPr>
        <p:spPr bwMode="gray">
          <a:xfrm>
            <a:off x="7093385" y="7265197"/>
            <a:ext cx="3103653" cy="684405"/>
          </a:xfrm>
          <a:prstGeom prst="wedgeRoundRectCallout">
            <a:avLst>
              <a:gd name="adj1" fmla="val -67351"/>
              <a:gd name="adj2" fmla="val -122864"/>
              <a:gd name="adj3" fmla="val 16667"/>
            </a:avLst>
          </a:prstGeom>
          <a:solidFill>
            <a:schemeClr val="accent4">
              <a:lumMod val="40000"/>
              <a:lumOff val="60000"/>
              <a:alpha val="50000"/>
            </a:schemeClr>
          </a:solidFill>
          <a:ln w="9525" cap="flat" cmpd="sng" algn="ctr">
            <a:noFill/>
            <a:prstDash val="solid"/>
          </a:ln>
          <a:effectLst/>
        </p:spPr>
        <p:txBody>
          <a:bodyPr rtlCol="0" anchor="ctr" anchorCtr="0"/>
          <a:lstStyle/>
          <a:p>
            <a:pPr algn="ctr">
              <a:spcBef>
                <a:spcPts val="300"/>
              </a:spcBef>
              <a:spcAft>
                <a:spcPts val="300"/>
              </a:spcAft>
              <a:buClr>
                <a:schemeClr val="bg1"/>
              </a:buClr>
              <a:buSzPct val="100000"/>
            </a:pPr>
            <a:r>
              <a:rPr lang="de-DE" sz="1600" kern="0" dirty="0">
                <a:latin typeface="Verdana"/>
              </a:rPr>
              <a:t>Ignored the physiological consequences, took &gt;ULN</a:t>
            </a:r>
          </a:p>
        </p:txBody>
      </p:sp>
      <p:sp>
        <p:nvSpPr>
          <p:cNvPr id="10" name="Speech Bubble: Rectangle with Corners Rounded 9">
            <a:extLst>
              <a:ext uri="{FF2B5EF4-FFF2-40B4-BE49-F238E27FC236}">
                <a16:creationId xmlns:a16="http://schemas.microsoft.com/office/drawing/2014/main" id="{6C8C3E7F-C946-55E0-1486-0A92AD06D837}"/>
              </a:ext>
            </a:extLst>
          </p:cNvPr>
          <p:cNvSpPr/>
          <p:nvPr/>
        </p:nvSpPr>
        <p:spPr bwMode="gray">
          <a:xfrm>
            <a:off x="9035972" y="3490881"/>
            <a:ext cx="2579933" cy="1344588"/>
          </a:xfrm>
          <a:prstGeom prst="wedgeRoundRectCallout">
            <a:avLst>
              <a:gd name="adj1" fmla="val -163487"/>
              <a:gd name="adj2" fmla="val 26575"/>
              <a:gd name="adj3" fmla="val 16667"/>
            </a:avLst>
          </a:prstGeom>
          <a:solidFill>
            <a:schemeClr val="accent4">
              <a:lumMod val="40000"/>
              <a:lumOff val="60000"/>
              <a:alpha val="50000"/>
            </a:schemeClr>
          </a:solidFill>
          <a:ln w="9525" cap="flat" cmpd="sng" algn="ctr">
            <a:noFill/>
            <a:prstDash val="solid"/>
          </a:ln>
          <a:effectLst/>
        </p:spPr>
        <p:txBody>
          <a:bodyPr rtlCol="0" anchor="ctr" anchorCtr="0"/>
          <a:lstStyle/>
          <a:p>
            <a:pPr algn="ctr">
              <a:spcBef>
                <a:spcPts val="300"/>
              </a:spcBef>
              <a:spcAft>
                <a:spcPts val="300"/>
              </a:spcAft>
              <a:buClr>
                <a:schemeClr val="bg1"/>
              </a:buClr>
              <a:buSzPct val="100000"/>
            </a:pPr>
            <a:r>
              <a:rPr lang="de-DE" sz="1200" kern="0" dirty="0">
                <a:latin typeface="Verdana"/>
              </a:rPr>
              <a:t> Some medical text is possible to assess. Resolves to &gt;Normal range and &gt; Baseline „with no medical intervention“ is ignored</a:t>
            </a:r>
          </a:p>
        </p:txBody>
      </p:sp>
      <p:sp>
        <p:nvSpPr>
          <p:cNvPr id="11" name="Speech Bubble: Rectangle with Corners Rounded 10">
            <a:extLst>
              <a:ext uri="{FF2B5EF4-FFF2-40B4-BE49-F238E27FC236}">
                <a16:creationId xmlns:a16="http://schemas.microsoft.com/office/drawing/2014/main" id="{63FBB4DE-CB2A-7A01-0145-D25A36EC22C3}"/>
              </a:ext>
            </a:extLst>
          </p:cNvPr>
          <p:cNvSpPr/>
          <p:nvPr/>
        </p:nvSpPr>
        <p:spPr bwMode="gray">
          <a:xfrm>
            <a:off x="623888" y="2554777"/>
            <a:ext cx="2579932" cy="1344587"/>
          </a:xfrm>
          <a:prstGeom prst="wedgeRoundRectCallout">
            <a:avLst>
              <a:gd name="adj1" fmla="val 90164"/>
              <a:gd name="adj2" fmla="val 58384"/>
              <a:gd name="adj3" fmla="val 16667"/>
            </a:avLst>
          </a:prstGeom>
          <a:solidFill>
            <a:schemeClr val="accent4">
              <a:lumMod val="40000"/>
              <a:lumOff val="60000"/>
              <a:alpha val="50000"/>
            </a:schemeClr>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r>
              <a:rPr lang="de-DE" sz="1200" kern="0" dirty="0">
                <a:latin typeface="Verdana"/>
              </a:rPr>
              <a:t>Corrected Serum Calcium or ionized Calcium. Corrected serum Calcium needs to be derived in Database. Ca alone cannot be assessed</a:t>
            </a:r>
          </a:p>
        </p:txBody>
      </p:sp>
    </p:spTree>
    <p:extLst>
      <p:ext uri="{BB962C8B-B14F-4D97-AF65-F5344CB8AC3E}">
        <p14:creationId xmlns:p14="http://schemas.microsoft.com/office/powerpoint/2010/main" val="3549118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A80928C-806A-40A7-B129-0BDF9DD1DB64}"/>
              </a:ext>
            </a:extLst>
          </p:cNvPr>
          <p:cNvSpPr>
            <a:spLocks noGrp="1"/>
          </p:cNvSpPr>
          <p:nvPr>
            <p:ph type="sldNum" sz="quarter" idx="16"/>
          </p:nvPr>
        </p:nvSpPr>
        <p:spPr/>
        <p:txBody>
          <a:bodyPr/>
          <a:lstStyle/>
          <a:p>
            <a:fld id="{FD5E7EB4-4CDF-47BB-AF16-07782904B863}" type="slidenum">
              <a:rPr lang="de-DE" smtClean="0"/>
              <a:pPr/>
              <a:t>5</a:t>
            </a:fld>
            <a:endParaRPr lang="de-DE" dirty="0"/>
          </a:p>
        </p:txBody>
      </p:sp>
      <p:sp>
        <p:nvSpPr>
          <p:cNvPr id="3" name="Footer Placeholder 2">
            <a:extLst>
              <a:ext uri="{FF2B5EF4-FFF2-40B4-BE49-F238E27FC236}">
                <a16:creationId xmlns:a16="http://schemas.microsoft.com/office/drawing/2014/main" id="{A22F264C-2484-4EFB-B09C-5112C13A9F5B}"/>
              </a:ext>
            </a:extLst>
          </p:cNvPr>
          <p:cNvSpPr>
            <a:spLocks noGrp="1"/>
          </p:cNvSpPr>
          <p:nvPr>
            <p:ph type="ftr" sz="quarter" idx="15"/>
          </p:nvPr>
        </p:nvSpPr>
        <p:spPr/>
        <p:txBody>
          <a:bodyPr/>
          <a:lstStyle/>
          <a:p>
            <a:r>
              <a:rPr lang="en-GB" altLang="zh-CN" dirty="0"/>
              <a:t>Pharma RUG | March 2025</a:t>
            </a:r>
            <a:endParaRPr lang="en-US" altLang="zh-CN" dirty="0"/>
          </a:p>
        </p:txBody>
      </p:sp>
      <p:sp>
        <p:nvSpPr>
          <p:cNvPr id="5" name="Text Placeholder 4">
            <a:extLst>
              <a:ext uri="{FF2B5EF4-FFF2-40B4-BE49-F238E27FC236}">
                <a16:creationId xmlns:a16="http://schemas.microsoft.com/office/drawing/2014/main" id="{9207D9A0-CDEF-4563-8DB9-7FC0554D0EA1}"/>
              </a:ext>
            </a:extLst>
          </p:cNvPr>
          <p:cNvSpPr>
            <a:spLocks noGrp="1"/>
          </p:cNvSpPr>
          <p:nvPr>
            <p:ph type="body" sz="quarter" idx="13"/>
          </p:nvPr>
        </p:nvSpPr>
        <p:spPr/>
        <p:txBody>
          <a:bodyPr/>
          <a:lstStyle/>
          <a:p>
            <a:endParaRPr lang="de-DE"/>
          </a:p>
        </p:txBody>
      </p:sp>
      <p:sp>
        <p:nvSpPr>
          <p:cNvPr id="6" name="Title 5">
            <a:extLst>
              <a:ext uri="{FF2B5EF4-FFF2-40B4-BE49-F238E27FC236}">
                <a16:creationId xmlns:a16="http://schemas.microsoft.com/office/drawing/2014/main" id="{77883A52-E0FA-493A-912C-284667A5CD96}"/>
              </a:ext>
            </a:extLst>
          </p:cNvPr>
          <p:cNvSpPr>
            <a:spLocks noGrp="1"/>
          </p:cNvSpPr>
          <p:nvPr>
            <p:ph type="title"/>
          </p:nvPr>
        </p:nvSpPr>
        <p:spPr/>
        <p:txBody>
          <a:bodyPr/>
          <a:lstStyle/>
          <a:p>
            <a:r>
              <a:rPr lang="de-DE" dirty="0"/>
              <a:t>The NCI CTCAE files</a:t>
            </a:r>
          </a:p>
        </p:txBody>
      </p:sp>
      <p:sp>
        <p:nvSpPr>
          <p:cNvPr id="17" name="TextBox 16">
            <a:extLst>
              <a:ext uri="{FF2B5EF4-FFF2-40B4-BE49-F238E27FC236}">
                <a16:creationId xmlns:a16="http://schemas.microsoft.com/office/drawing/2014/main" id="{8541708E-C929-FECF-3488-AE9DD8A655EC}"/>
              </a:ext>
            </a:extLst>
          </p:cNvPr>
          <p:cNvSpPr txBox="1"/>
          <p:nvPr/>
        </p:nvSpPr>
        <p:spPr bwMode="gray">
          <a:xfrm>
            <a:off x="623888" y="1251079"/>
            <a:ext cx="10842134" cy="3970318"/>
          </a:xfrm>
          <a:prstGeom prst="rect">
            <a:avLst/>
          </a:prstGeom>
          <a:noFill/>
        </p:spPr>
        <p:txBody>
          <a:bodyPr wrap="square">
            <a:spAutoFit/>
          </a:bodyPr>
          <a:lstStyle/>
          <a:p>
            <a:r>
              <a:rPr lang="en-US" altLang="zh-CN" dirty="0"/>
              <a:t>It is difficult to use NCI CTC AE file to derive toxicity grade directly for several reasons:</a:t>
            </a:r>
          </a:p>
          <a:p>
            <a:endParaRPr lang="en-US" altLang="zh-CN" dirty="0"/>
          </a:p>
          <a:p>
            <a:pPr marL="342900" indent="-342900">
              <a:buAutoNum type="arabicPeriod"/>
            </a:pPr>
            <a:r>
              <a:rPr lang="en-US" altLang="zh-CN" dirty="0"/>
              <a:t>Sometimes medical assessments and physiological consequences not possible to assess</a:t>
            </a:r>
          </a:p>
          <a:p>
            <a:pPr marL="342900" indent="-342900">
              <a:buAutoNum type="arabicPeriod"/>
            </a:pPr>
            <a:r>
              <a:rPr lang="en-US" altLang="zh-CN" dirty="0"/>
              <a:t>The grade definitions usually refer to laboratory ranges but may sometime include medical definitions </a:t>
            </a:r>
          </a:p>
          <a:p>
            <a:pPr marL="342900" indent="-342900">
              <a:buAutoNum type="arabicPeriod"/>
            </a:pPr>
            <a:r>
              <a:rPr lang="en-US" altLang="zh-CN" dirty="0"/>
              <a:t>They may also overlap with normal ranges or have multiple definitions</a:t>
            </a:r>
          </a:p>
          <a:p>
            <a:r>
              <a:rPr lang="de-DE" altLang="zh-CN" sz="1800" dirty="0"/>
              <a:t>4. Ranges are repeated in another grade but with a medical condition</a:t>
            </a:r>
          </a:p>
          <a:p>
            <a:r>
              <a:rPr lang="de-DE" altLang="zh-CN" sz="1800" dirty="0"/>
              <a:t>5. Ranges are specified with different units but these are not always Merck standard units so a conversion is needed</a:t>
            </a:r>
          </a:p>
          <a:p>
            <a:r>
              <a:rPr lang="de-DE" altLang="zh-CN" sz="1800" dirty="0"/>
              <a:t>6. Sometimes it is specified as range with fixed values, or as change from baseline, or as difference to normal range or as increase by ...</a:t>
            </a:r>
          </a:p>
          <a:p>
            <a:r>
              <a:rPr lang="de-DE" altLang="zh-CN" sz="1800" dirty="0"/>
              <a:t>7. Sometimes there are 2 different rules that are overlapping between the grades</a:t>
            </a:r>
          </a:p>
          <a:p>
            <a:r>
              <a:rPr lang="de-DE" altLang="zh-CN" dirty="0"/>
              <a:t>8</a:t>
            </a:r>
            <a:r>
              <a:rPr lang="de-DE" altLang="zh-CN" sz="1800" dirty="0"/>
              <a:t>. Some parameter have bidirectional toxgrade definitions others only one direction</a:t>
            </a:r>
          </a:p>
          <a:p>
            <a:pPr marL="342900" indent="-342900">
              <a:buAutoNum type="arabicPeriod"/>
            </a:pPr>
            <a:endParaRPr lang="en-US" altLang="zh-CN" dirty="0"/>
          </a:p>
        </p:txBody>
      </p:sp>
    </p:spTree>
    <p:extLst>
      <p:ext uri="{BB962C8B-B14F-4D97-AF65-F5344CB8AC3E}">
        <p14:creationId xmlns:p14="http://schemas.microsoft.com/office/powerpoint/2010/main" val="14097012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D52F9DE-C167-40E8-B53C-7D41D8374676}"/>
              </a:ext>
            </a:extLst>
          </p:cNvPr>
          <p:cNvSpPr>
            <a:spLocks noGrp="1"/>
          </p:cNvSpPr>
          <p:nvPr>
            <p:ph type="sldNum" sz="quarter" idx="16"/>
          </p:nvPr>
        </p:nvSpPr>
        <p:spPr/>
        <p:txBody>
          <a:bodyPr/>
          <a:lstStyle/>
          <a:p>
            <a:fld id="{FD5E7EB4-4CDF-47BB-AF16-07782904B863}" type="slidenum">
              <a:rPr lang="en-US" smtClean="0"/>
              <a:pPr/>
              <a:t>6</a:t>
            </a:fld>
            <a:endParaRPr lang="en-US"/>
          </a:p>
        </p:txBody>
      </p:sp>
      <p:sp>
        <p:nvSpPr>
          <p:cNvPr id="3" name="Content Placeholder 2">
            <a:extLst>
              <a:ext uri="{FF2B5EF4-FFF2-40B4-BE49-F238E27FC236}">
                <a16:creationId xmlns:a16="http://schemas.microsoft.com/office/drawing/2014/main" id="{6F407A41-D14D-41B7-863B-ABB0C69CB8D0}"/>
              </a:ext>
            </a:extLst>
          </p:cNvPr>
          <p:cNvSpPr>
            <a:spLocks noGrp="1"/>
          </p:cNvSpPr>
          <p:nvPr>
            <p:ph sz="quarter" idx="14"/>
          </p:nvPr>
        </p:nvSpPr>
        <p:spPr>
          <a:xfrm>
            <a:off x="489418" y="1116280"/>
            <a:ext cx="11222970" cy="4875037"/>
          </a:xfrm>
        </p:spPr>
        <p:txBody>
          <a:bodyPr/>
          <a:lstStyle/>
          <a:p>
            <a:endParaRPr lang="en-US" dirty="0"/>
          </a:p>
          <a:p>
            <a:pPr marL="342900" indent="-342900">
              <a:buFont typeface="+mj-lt"/>
              <a:buAutoNum type="arabicPeriod"/>
            </a:pPr>
            <a:endParaRPr lang="en-GB" dirty="0"/>
          </a:p>
        </p:txBody>
      </p:sp>
      <p:sp>
        <p:nvSpPr>
          <p:cNvPr id="4" name="Text Placeholder 3">
            <a:extLst>
              <a:ext uri="{FF2B5EF4-FFF2-40B4-BE49-F238E27FC236}">
                <a16:creationId xmlns:a16="http://schemas.microsoft.com/office/drawing/2014/main" id="{0711DC84-99B9-4440-8CF3-F4AE7F4E9755}"/>
              </a:ext>
            </a:extLst>
          </p:cNvPr>
          <p:cNvSpPr>
            <a:spLocks noGrp="1"/>
          </p:cNvSpPr>
          <p:nvPr>
            <p:ph type="body" sz="quarter" idx="13"/>
          </p:nvPr>
        </p:nvSpPr>
        <p:spPr/>
        <p:txBody>
          <a:bodyPr/>
          <a:lstStyle/>
          <a:p>
            <a:r>
              <a:rPr lang="de-DE" altLang="zh-CN" dirty="0"/>
              <a:t>The technical definition file</a:t>
            </a:r>
            <a:endParaRPr lang="en-GB" altLang="zh-CN" dirty="0"/>
          </a:p>
        </p:txBody>
      </p:sp>
      <p:sp>
        <p:nvSpPr>
          <p:cNvPr id="6" name="Footer Placeholder 5">
            <a:extLst>
              <a:ext uri="{FF2B5EF4-FFF2-40B4-BE49-F238E27FC236}">
                <a16:creationId xmlns:a16="http://schemas.microsoft.com/office/drawing/2014/main" id="{F6E76EFE-3B90-44F6-B7E2-44C41D04FD3F}"/>
              </a:ext>
            </a:extLst>
          </p:cNvPr>
          <p:cNvSpPr>
            <a:spLocks noGrp="1"/>
          </p:cNvSpPr>
          <p:nvPr>
            <p:ph type="ftr" sz="quarter" idx="10"/>
          </p:nvPr>
        </p:nvSpPr>
        <p:spPr/>
        <p:txBody>
          <a:bodyPr/>
          <a:lstStyle/>
          <a:p>
            <a:r>
              <a:rPr lang="en-GB" altLang="zh-CN" dirty="0"/>
              <a:t>Pharma RUG | March 2025</a:t>
            </a:r>
            <a:endParaRPr lang="en-US" altLang="zh-CN" dirty="0"/>
          </a:p>
        </p:txBody>
      </p:sp>
      <p:pic>
        <p:nvPicPr>
          <p:cNvPr id="5" name="Picture 4">
            <a:extLst>
              <a:ext uri="{FF2B5EF4-FFF2-40B4-BE49-F238E27FC236}">
                <a16:creationId xmlns:a16="http://schemas.microsoft.com/office/drawing/2014/main" id="{CB794A2F-B381-BC6F-6E78-F028FEC2CC7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088" y="1278017"/>
            <a:ext cx="11656912" cy="4860765"/>
          </a:xfrm>
          <a:prstGeom prst="rect">
            <a:avLst/>
          </a:prstGeom>
        </p:spPr>
      </p:pic>
      <p:sp>
        <p:nvSpPr>
          <p:cNvPr id="7" name="Content Placeholder 2">
            <a:extLst>
              <a:ext uri="{FF2B5EF4-FFF2-40B4-BE49-F238E27FC236}">
                <a16:creationId xmlns:a16="http://schemas.microsoft.com/office/drawing/2014/main" id="{18DAA5D1-EB30-B47E-27C1-8EE28908F7EB}"/>
              </a:ext>
            </a:extLst>
          </p:cNvPr>
          <p:cNvSpPr txBox="1">
            <a:spLocks/>
          </p:cNvSpPr>
          <p:nvPr/>
        </p:nvSpPr>
        <p:spPr bwMode="gray">
          <a:xfrm>
            <a:off x="319088" y="786081"/>
            <a:ext cx="11656912" cy="491936"/>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lang="en-US"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80000" indent="-180000" algn="l" defTabSz="914400" rtl="0" eaLnBrk="1" latinLnBrk="0" hangingPunct="1">
              <a:lnSpc>
                <a:spcPct val="105000"/>
              </a:lnSpc>
              <a:spcBef>
                <a:spcPts val="300"/>
              </a:spcBef>
              <a:spcAft>
                <a:spcPts val="300"/>
              </a:spcAft>
              <a:buClr>
                <a:schemeClr val="accent1"/>
              </a:buClr>
              <a:buFont typeface="Wingdings" panose="05000000000000000000" pitchFamily="2"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360000" indent="-180000" algn="l" defTabSz="914400" rtl="0" eaLnBrk="1" latinLnBrk="0" hangingPunct="1">
              <a:lnSpc>
                <a:spcPct val="105000"/>
              </a:lnSpc>
              <a:spcBef>
                <a:spcPts val="300"/>
              </a:spcBef>
              <a:spcAft>
                <a:spcPts val="300"/>
              </a:spcAft>
              <a:buClr>
                <a:schemeClr val="accent1"/>
              </a:buClr>
              <a:buFont typeface="Symbol" panose="05050102010706020507" pitchFamily="18"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538163"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720725"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lang="de-DE"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720000" indent="-180000" algn="l" defTabSz="914400" rtl="0" eaLnBrk="1" latinLnBrk="0" hangingPunct="1">
              <a:lnSpc>
                <a:spcPct val="105000"/>
              </a:lnSpc>
              <a:spcBef>
                <a:spcPts val="300"/>
              </a:spcBef>
              <a:spcAft>
                <a:spcPts val="300"/>
              </a:spcAft>
              <a:buClr>
                <a:schemeClr val="bg2"/>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9pPr>
          </a:lstStyle>
          <a:p>
            <a:r>
              <a:rPr lang="de-DE" altLang="zh-CN" sz="1400" dirty="0"/>
              <a:t>The NCI CTCAE file is not possible to take as source for programming. It needs a human interpretation. SME created a technicl file which includes NCI 4.03 and NCI 5.0 versions.</a:t>
            </a:r>
          </a:p>
          <a:p>
            <a:pPr marL="342900" indent="-342900">
              <a:buFont typeface="+mj-lt"/>
              <a:buAutoNum type="arabicPeriod"/>
            </a:pPr>
            <a:endParaRPr lang="en-US" dirty="0"/>
          </a:p>
        </p:txBody>
      </p:sp>
    </p:spTree>
    <p:extLst>
      <p:ext uri="{BB962C8B-B14F-4D97-AF65-F5344CB8AC3E}">
        <p14:creationId xmlns:p14="http://schemas.microsoft.com/office/powerpoint/2010/main" val="6509023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28938F5-C239-4DE8-A440-C276FC89306C}"/>
              </a:ext>
            </a:extLst>
          </p:cNvPr>
          <p:cNvSpPr>
            <a:spLocks noGrp="1"/>
          </p:cNvSpPr>
          <p:nvPr>
            <p:ph type="title"/>
          </p:nvPr>
        </p:nvSpPr>
        <p:spPr>
          <a:xfrm>
            <a:off x="7176119" y="1879992"/>
            <a:ext cx="4657508" cy="1734697"/>
          </a:xfrm>
        </p:spPr>
        <p:txBody>
          <a:bodyPr/>
          <a:lstStyle/>
          <a:p>
            <a:r>
              <a:rPr lang="de-DE" altLang="zh-CN" dirty="0"/>
              <a:t>Main consideration and solution</a:t>
            </a:r>
            <a:endParaRPr lang="en-GB" altLang="zh-CN" dirty="0"/>
          </a:p>
        </p:txBody>
      </p:sp>
    </p:spTree>
    <p:extLst>
      <p:ext uri="{BB962C8B-B14F-4D97-AF65-F5344CB8AC3E}">
        <p14:creationId xmlns:p14="http://schemas.microsoft.com/office/powerpoint/2010/main" val="28351084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D52F9DE-C167-40E8-B53C-7D41D8374676}"/>
              </a:ext>
            </a:extLst>
          </p:cNvPr>
          <p:cNvSpPr>
            <a:spLocks noGrp="1"/>
          </p:cNvSpPr>
          <p:nvPr>
            <p:ph type="sldNum" sz="quarter" idx="16"/>
          </p:nvPr>
        </p:nvSpPr>
        <p:spPr/>
        <p:txBody>
          <a:bodyPr/>
          <a:lstStyle/>
          <a:p>
            <a:fld id="{FD5E7EB4-4CDF-47BB-AF16-07782904B863}" type="slidenum">
              <a:rPr lang="en-US" smtClean="0"/>
              <a:pPr/>
              <a:t>8</a:t>
            </a:fld>
            <a:endParaRPr lang="en-US"/>
          </a:p>
        </p:txBody>
      </p:sp>
      <p:sp>
        <p:nvSpPr>
          <p:cNvPr id="3" name="Content Placeholder 2">
            <a:extLst>
              <a:ext uri="{FF2B5EF4-FFF2-40B4-BE49-F238E27FC236}">
                <a16:creationId xmlns:a16="http://schemas.microsoft.com/office/drawing/2014/main" id="{6F407A41-D14D-41B7-863B-ABB0C69CB8D0}"/>
              </a:ext>
            </a:extLst>
          </p:cNvPr>
          <p:cNvSpPr>
            <a:spLocks noGrp="1"/>
          </p:cNvSpPr>
          <p:nvPr>
            <p:ph sz="quarter" idx="14"/>
          </p:nvPr>
        </p:nvSpPr>
        <p:spPr>
          <a:xfrm>
            <a:off x="489418" y="939800"/>
            <a:ext cx="11222970" cy="5051517"/>
          </a:xfrm>
        </p:spPr>
        <p:txBody>
          <a:bodyPr/>
          <a:lstStyle/>
          <a:p>
            <a:pPr marL="285750" indent="-285750">
              <a:buFontTx/>
              <a:buChar char="-"/>
            </a:pPr>
            <a:r>
              <a:rPr lang="en-US" altLang="zh-CN" dirty="0"/>
              <a:t>Problem to solve</a:t>
            </a:r>
          </a:p>
          <a:p>
            <a:pPr marL="465750" lvl="1" indent="-285750">
              <a:buFontTx/>
              <a:buChar char="-"/>
            </a:pPr>
            <a:r>
              <a:rPr lang="en-US" altLang="zh-CN" dirty="0"/>
              <a:t>Apply each rule in definition file on each record of lab data</a:t>
            </a:r>
          </a:p>
          <a:p>
            <a:pPr marL="285750" indent="-285750">
              <a:buFontTx/>
              <a:buChar char="-"/>
            </a:pPr>
            <a:r>
              <a:rPr lang="en-US" altLang="zh-CN" dirty="0"/>
              <a:t>Consideration</a:t>
            </a:r>
          </a:p>
          <a:p>
            <a:pPr marL="465750" lvl="1" indent="-285750">
              <a:buFontTx/>
              <a:buChar char="-"/>
            </a:pPr>
            <a:r>
              <a:rPr lang="en-US" altLang="zh-CN" dirty="0"/>
              <a:t>Definition file may change or update over time, so solution should be metadata driven</a:t>
            </a:r>
          </a:p>
          <a:p>
            <a:pPr marL="465750" lvl="1" indent="-285750">
              <a:buFontTx/>
              <a:buChar char="-"/>
            </a:pPr>
            <a:r>
              <a:rPr lang="en-US" altLang="zh-CN" dirty="0"/>
              <a:t>Should avoid nested loop as much as possible</a:t>
            </a:r>
          </a:p>
          <a:p>
            <a:pPr marL="285750" indent="-285750">
              <a:buFontTx/>
              <a:buChar char="-"/>
            </a:pPr>
            <a:r>
              <a:rPr lang="en-US" altLang="zh-CN" dirty="0"/>
              <a:t>Solution</a:t>
            </a:r>
          </a:p>
          <a:p>
            <a:pPr marL="465750" lvl="1" indent="-285750">
              <a:buFontTx/>
              <a:buChar char="-"/>
            </a:pPr>
            <a:r>
              <a:rPr lang="en-US" altLang="zh-CN" dirty="0"/>
              <a:t>Generate R function per lab test/unit/NCI version; save those functions in a </a:t>
            </a:r>
            <a:r>
              <a:rPr lang="en-US" altLang="zh-CN" dirty="0" err="1"/>
              <a:t>Rdata</a:t>
            </a:r>
            <a:r>
              <a:rPr lang="en-US" altLang="zh-CN" dirty="0"/>
              <a:t> file</a:t>
            </a:r>
          </a:p>
          <a:p>
            <a:pPr marL="465750" lvl="1" indent="-285750">
              <a:buFontTx/>
              <a:buChar char="-"/>
            </a:pPr>
            <a:r>
              <a:rPr lang="en-US" altLang="zh-CN" dirty="0"/>
              <a:t>Each record of lab data corresponds to a certain R function</a:t>
            </a:r>
          </a:p>
          <a:p>
            <a:pPr marL="465750" lvl="1" indent="-285750">
              <a:buFontTx/>
              <a:buChar char="-"/>
            </a:pPr>
            <a:r>
              <a:rPr lang="en-US" altLang="zh-CN" dirty="0"/>
              <a:t>Call this function and derived high and low grade assigned back to input lab data</a:t>
            </a:r>
          </a:p>
          <a:p>
            <a:pPr marL="465750" lvl="1" indent="-285750">
              <a:buFontTx/>
              <a:buChar char="-"/>
            </a:pPr>
            <a:r>
              <a:rPr lang="en-US" altLang="zh-CN" dirty="0"/>
              <a:t>Different versions of </a:t>
            </a:r>
            <a:r>
              <a:rPr lang="en-US" altLang="zh-CN" dirty="0" err="1"/>
              <a:t>Rdata</a:t>
            </a:r>
            <a:r>
              <a:rPr lang="en-US" altLang="zh-CN" dirty="0"/>
              <a:t> file can be pointed to</a:t>
            </a:r>
          </a:p>
        </p:txBody>
      </p:sp>
      <p:sp>
        <p:nvSpPr>
          <p:cNvPr id="4" name="Text Placeholder 3">
            <a:extLst>
              <a:ext uri="{FF2B5EF4-FFF2-40B4-BE49-F238E27FC236}">
                <a16:creationId xmlns:a16="http://schemas.microsoft.com/office/drawing/2014/main" id="{0711DC84-99B9-4440-8CF3-F4AE7F4E9755}"/>
              </a:ext>
            </a:extLst>
          </p:cNvPr>
          <p:cNvSpPr>
            <a:spLocks noGrp="1"/>
          </p:cNvSpPr>
          <p:nvPr>
            <p:ph type="body" sz="quarter" idx="13"/>
          </p:nvPr>
        </p:nvSpPr>
        <p:spPr/>
        <p:txBody>
          <a:bodyPr/>
          <a:lstStyle/>
          <a:p>
            <a:r>
              <a:rPr lang="de-DE" altLang="zh-CN" dirty="0"/>
              <a:t>Main consideration and solution</a:t>
            </a:r>
            <a:endParaRPr lang="en-GB" altLang="zh-CN" dirty="0"/>
          </a:p>
        </p:txBody>
      </p:sp>
      <p:sp>
        <p:nvSpPr>
          <p:cNvPr id="6" name="Footer Placeholder 5">
            <a:extLst>
              <a:ext uri="{FF2B5EF4-FFF2-40B4-BE49-F238E27FC236}">
                <a16:creationId xmlns:a16="http://schemas.microsoft.com/office/drawing/2014/main" id="{F6E76EFE-3B90-44F6-B7E2-44C41D04FD3F}"/>
              </a:ext>
            </a:extLst>
          </p:cNvPr>
          <p:cNvSpPr>
            <a:spLocks noGrp="1"/>
          </p:cNvSpPr>
          <p:nvPr>
            <p:ph type="ftr" sz="quarter" idx="10"/>
          </p:nvPr>
        </p:nvSpPr>
        <p:spPr/>
        <p:txBody>
          <a:bodyPr/>
          <a:lstStyle/>
          <a:p>
            <a:r>
              <a:rPr lang="en-GB" altLang="zh-CN" dirty="0"/>
              <a:t>Pharma RUG | March 2025</a:t>
            </a:r>
            <a:endParaRPr lang="en-US" altLang="zh-CN" dirty="0"/>
          </a:p>
        </p:txBody>
      </p:sp>
    </p:spTree>
    <p:extLst>
      <p:ext uri="{BB962C8B-B14F-4D97-AF65-F5344CB8AC3E}">
        <p14:creationId xmlns:p14="http://schemas.microsoft.com/office/powerpoint/2010/main" val="30687033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28938F5-C239-4DE8-A440-C276FC89306C}"/>
              </a:ext>
            </a:extLst>
          </p:cNvPr>
          <p:cNvSpPr>
            <a:spLocks noGrp="1"/>
          </p:cNvSpPr>
          <p:nvPr>
            <p:ph type="title"/>
          </p:nvPr>
        </p:nvSpPr>
        <p:spPr>
          <a:xfrm>
            <a:off x="7023100" y="1879992"/>
            <a:ext cx="4810527" cy="1180699"/>
          </a:xfrm>
        </p:spPr>
        <p:txBody>
          <a:bodyPr/>
          <a:lstStyle/>
          <a:p>
            <a:r>
              <a:rPr lang="de-DE" altLang="zh-CN" dirty="0"/>
              <a:t>Implementaion</a:t>
            </a:r>
            <a:endParaRPr lang="en-GB" altLang="zh-CN" dirty="0"/>
          </a:p>
        </p:txBody>
      </p:sp>
    </p:spTree>
    <p:extLst>
      <p:ext uri="{BB962C8B-B14F-4D97-AF65-F5344CB8AC3E}">
        <p14:creationId xmlns:p14="http://schemas.microsoft.com/office/powerpoint/2010/main" val="11910698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3"/>
  <p:tag name="MIO_SHOW_DATE" val="False"/>
  <p:tag name="MIO_SHOW_FOOTER" val="True"/>
  <p:tag name="MIO_SHOW_PAGENUMBER" val="True"/>
  <p:tag name="MIO_AVOID_BLANK_LAYOUT" val="False"/>
  <p:tag name="MIO_NUMBER_OF_VALID_LAYOUTS" val="33"/>
  <p:tag name="MIO_MST_COLOR_1" val="0,0,0,Dunkel 1"/>
  <p:tag name="MIO_MST_COLOR_2" val="255,255,255,Hell 1"/>
  <p:tag name="MIO_MST_COLOR_3" val="235,60,150,Dunkel 2"/>
  <p:tag name="MIO_MST_COLOR_4" val="45,190,205,Hell 2"/>
  <p:tag name="MIO_MST_COLOR_5" val="80,50,145,Akzent 1"/>
  <p:tag name="MIO_MST_COLOR_6" val="15,105,175,Akzent 2"/>
  <p:tag name="MIO_MST_COLOR_7" val="165,205,80,Akzent 3"/>
  <p:tag name="MIO_MST_COLOR_8" val="255,200,50,Akzent 4"/>
  <p:tag name="MIO_MST_COLOR_9" val="235,60,150,Akzent 5"/>
  <p:tag name="MIO_MST_COLOR_10" val="20,155,95,Akzent 6"/>
  <p:tag name="MIO_MST_COLOR_11" val="80,50,145,"/>
  <p:tag name="MIO_MST_COLOR_12" val="80,50,145,"/>
  <p:tag name="MIO_HDS" val="True"/>
  <p:tag name="MIO_EK" val="2529"/>
  <p:tag name="MIO_EKGUID" val="4d6beffb-5246-420c-a6d6-d9569b8f0fc9"/>
  <p:tag name="MIO_UPDATE" val="True"/>
  <p:tag name="MIO_VERSION" val="22.08.2016 13:30:56"/>
  <p:tag name="MIO_DBID" val="218709A9-2117-4AF1-A1EA-309C9A305E58"/>
  <p:tag name="MIO_LASTDOWNLOADED" val="31.10.2016 12:50:25"/>
  <p:tag name="MIO_OBJECTNAME" val="Merck EN"/>
  <p:tag name="MIO_LASTEDITORNAME" val="Brigitte Schneider"/>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Merck">
  <a:themeElements>
    <a:clrScheme name="Merck neu">
      <a:dk1>
        <a:srgbClr val="000000"/>
      </a:dk1>
      <a:lt1>
        <a:srgbClr val="FFFFFF"/>
      </a:lt1>
      <a:dk2>
        <a:srgbClr val="EB3C96"/>
      </a:dk2>
      <a:lt2>
        <a:srgbClr val="2DBECD"/>
      </a:lt2>
      <a:accent1>
        <a:srgbClr val="503291"/>
      </a:accent1>
      <a:accent2>
        <a:srgbClr val="0F69AF"/>
      </a:accent2>
      <a:accent3>
        <a:srgbClr val="A5CD50"/>
      </a:accent3>
      <a:accent4>
        <a:srgbClr val="FFC832"/>
      </a:accent4>
      <a:accent5>
        <a:srgbClr val="EB3C96"/>
      </a:accent5>
      <a:accent6>
        <a:srgbClr val="149B5F"/>
      </a:accent6>
      <a:hlink>
        <a:srgbClr val="503291"/>
      </a:hlink>
      <a:folHlink>
        <a:srgbClr val="503291"/>
      </a:folHlink>
    </a:clrScheme>
    <a:fontScheme name="Merck">
      <a:majorFont>
        <a:latin typeface="Verdana"/>
        <a:ea typeface=""/>
        <a:cs typeface=""/>
      </a:majorFont>
      <a:minorFont>
        <a:latin typeface="Verdana"/>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w="9525" cap="flat" cmpd="sng" algn="ctr">
          <a:noFill/>
          <a:prstDash val="solid"/>
        </a:ln>
        <a:effectLst/>
      </a:spPr>
      <a:bodyPr rtlCol="0" anchor="ctr" anchorCtr="0"/>
      <a:lstStyle>
        <a:defPPr marL="0" indent="0" algn="ctr" rtl="0" eaLnBrk="1" fontAlgn="auto" hangingPunct="1">
          <a:lnSpc>
            <a:spcPct val="100000"/>
          </a:lnSpc>
          <a:spcBef>
            <a:spcPts val="300"/>
          </a:spcBef>
          <a:spcAft>
            <a:spcPts val="300"/>
          </a:spcAft>
          <a:buClr>
            <a:schemeClr val="bg1"/>
          </a:buClr>
          <a:buSzPct val="100000"/>
          <a:buFont typeface="Arial" panose="020B0604020202020204" pitchFamily="34" charset="0"/>
          <a:buNone/>
          <a:defRPr sz="1600" b="0" i="0" u="none" kern="0" baseline="0" dirty="0" smtClean="0">
            <a:solidFill>
              <a:srgbClr val="FFFFFF"/>
            </a:solidFill>
            <a:latin typeface="Verdana" panose="020B0604030504040204" pitchFamily="34" charset="0"/>
          </a:defRPr>
        </a:defPPr>
      </a:lstStyle>
    </a:spDef>
    <a:lnDef>
      <a:spPr>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marR="0" algn="l" defTabSz="914400" rtl="0" eaLnBrk="1" fontAlgn="auto" latinLnBrk="0" hangingPunct="1">
          <a:lnSpc>
            <a:spcPct val="100000"/>
          </a:lnSpc>
          <a:spcBef>
            <a:spcPts val="300"/>
          </a:spcBef>
          <a:spcAft>
            <a:spcPts val="300"/>
          </a:spcAft>
          <a:buClr>
            <a:schemeClr val="accent1"/>
          </a:buClr>
          <a:buSzTx/>
          <a:tabLst/>
          <a:defRPr kumimoji="0" sz="1600" b="0"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defRPr>
        </a:defPPr>
      </a:lstStyle>
    </a:txDef>
  </a:objectDefaults>
  <a:extraClrSchemeLst/>
  <a:custClrLst>
    <a:custClr name="Rich Purple">
      <a:srgbClr val="503291"/>
    </a:custClr>
    <a:custClr name="Rich Blue">
      <a:srgbClr val="0F69AF"/>
    </a:custClr>
    <a:custClr name="Rich Green">
      <a:srgbClr val="149B5F"/>
    </a:custClr>
    <a:custClr name="Rich Red">
      <a:srgbClr val="E61E50"/>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Vibrant Magenta">
      <a:srgbClr val="EB3C96"/>
    </a:custClr>
    <a:custClr name="Vibrant Cyan">
      <a:srgbClr val="2DBECD"/>
    </a:custClr>
    <a:custClr name="Vibrant Green">
      <a:srgbClr val="A5CD50"/>
    </a:custClr>
    <a:custClr name="Vibrant Yellow">
      <a:srgbClr val="FFC832"/>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Sensitive Pink">
      <a:srgbClr val="E1C3CD"/>
    </a:custClr>
    <a:custClr name="Sensitive Blue">
      <a:srgbClr val="96D7D2"/>
    </a:custClr>
    <a:custClr name="Sensitive Green">
      <a:srgbClr val="B4DC96"/>
    </a:custClr>
    <a:custClr name="Sensitive Yellow">
      <a:srgbClr val="FFDCB9"/>
    </a:custClr>
    <a:custClr name=" ">
      <a:srgbClr val="FFFFFF"/>
    </a:custClr>
    <a:custClr name=" ">
      <a:srgbClr val="FFFFFF"/>
    </a:custClr>
    <a:custClr name=" ">
      <a:srgbClr val="FFFFFF"/>
    </a:custClr>
    <a:custClr name=" ">
      <a:srgbClr val="FFFFFF"/>
    </a:custClr>
    <a:custClr name=" ">
      <a:srgbClr val="FFFFFF"/>
    </a:custClr>
    <a:custClr name=" ">
      <a:srgbClr val="FFFFFF"/>
    </a:custClr>
  </a:custClrLst>
  <a:extLst>
    <a:ext uri="{05A4C25C-085E-4340-85A3-A5531E510DB2}">
      <thm15:themeFamily xmlns:thm15="http://schemas.microsoft.com/office/thememl/2012/main" name="Merck EN_16.9.potx" id="{742757AA-4908-453B-86C3-4A95B5DF75A8}" vid="{EDF0481A-3924-4625-BCAC-01B15170B3B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220864199AD7242930A49104B0F71DC" ma:contentTypeVersion="2" ma:contentTypeDescription="Create a new document." ma:contentTypeScope="" ma:versionID="5a7fe273bca3b094e1febc1cae1e00f7">
  <xsd:schema xmlns:xsd="http://www.w3.org/2001/XMLSchema" xmlns:xs="http://www.w3.org/2001/XMLSchema" xmlns:p="http://schemas.microsoft.com/office/2006/metadata/properties" xmlns:ns2="17f2c7c6-1f95-42b3-9e88-c5ed6a1acf10" targetNamespace="http://schemas.microsoft.com/office/2006/metadata/properties" ma:root="true" ma:fieldsID="56c487297bbf66f56a6f1d50fd6d4713" ns2:_="">
    <xsd:import namespace="17f2c7c6-1f95-42b3-9e88-c5ed6a1acf10"/>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7f2c7c6-1f95-42b3-9e88-c5ed6a1acf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8C13EB0-7866-4FE6-AFA3-AAE700A558A2}">
  <ds:schemaRefs>
    <ds:schemaRef ds:uri="http://schemas.microsoft.com/sharepoint/v3/contenttype/forms"/>
  </ds:schemaRefs>
</ds:datastoreItem>
</file>

<file path=customXml/itemProps2.xml><?xml version="1.0" encoding="utf-8"?>
<ds:datastoreItem xmlns:ds="http://schemas.openxmlformats.org/officeDocument/2006/customXml" ds:itemID="{3D086D1F-6200-44D8-B2AB-7BC04102A0E1}">
  <ds:schemaRefs>
    <ds:schemaRef ds:uri="17f2c7c6-1f95-42b3-9e88-c5ed6a1acf10"/>
    <ds:schemaRef ds:uri="http://schemas.microsoft.com/office/infopath/2007/PartnerControls"/>
    <ds:schemaRef ds:uri="http://purl.org/dc/terms/"/>
    <ds:schemaRef ds:uri="http://purl.org/dc/elements/1.1/"/>
    <ds:schemaRef ds:uri="http://schemas.microsoft.com/office/2006/metadata/properties"/>
    <ds:schemaRef ds:uri="http://www.w3.org/XML/1998/namespace"/>
    <ds:schemaRef ds:uri="http://purl.org/dc/dcmitype/"/>
    <ds:schemaRef ds:uri="http://schemas.microsoft.com/office/2006/documentManagement/types"/>
    <ds:schemaRef ds:uri="http://schemas.openxmlformats.org/package/2006/metadata/core-properties"/>
  </ds:schemaRefs>
</ds:datastoreItem>
</file>

<file path=customXml/itemProps3.xml><?xml version="1.0" encoding="utf-8"?>
<ds:datastoreItem xmlns:ds="http://schemas.openxmlformats.org/officeDocument/2006/customXml" ds:itemID="{11B3D15E-30E4-430A-9739-2CF6618110DA}">
  <ds:schemaRefs>
    <ds:schemaRef ds:uri="17f2c7c6-1f95-42b3-9e88-c5ed6a1acf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6713</TotalTime>
  <Words>983</Words>
  <Application>Microsoft Office PowerPoint</Application>
  <PresentationFormat>Widescreen</PresentationFormat>
  <Paragraphs>107</Paragraphs>
  <Slides>17</Slides>
  <Notes>4</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5" baseType="lpstr">
      <vt:lpstr>Arial</vt:lpstr>
      <vt:lpstr>Calibri</vt:lpstr>
      <vt:lpstr>Merck</vt:lpstr>
      <vt:lpstr>Symbol</vt:lpstr>
      <vt:lpstr>Verdana</vt:lpstr>
      <vt:lpstr>Wingdings</vt:lpstr>
      <vt:lpstr>1_Merck</vt:lpstr>
      <vt:lpstr>think-cell Slide</vt:lpstr>
      <vt:lpstr>R package to calculate toxicity grade</vt:lpstr>
      <vt:lpstr>PowerPoint Presentation</vt:lpstr>
      <vt:lpstr>Introduction</vt:lpstr>
      <vt:lpstr>PowerPoint Presentation</vt:lpstr>
      <vt:lpstr>The NCI CTCAE files</vt:lpstr>
      <vt:lpstr>PowerPoint Presentation</vt:lpstr>
      <vt:lpstr>Main consideration and solution</vt:lpstr>
      <vt:lpstr>PowerPoint Presentation</vt:lpstr>
      <vt:lpstr>Implementaion</vt:lpstr>
      <vt:lpstr>PowerPoint Presentation</vt:lpstr>
      <vt:lpstr>PowerPoint Presentation</vt:lpstr>
      <vt:lpstr>PowerPoint Presentation</vt:lpstr>
      <vt:lpstr>PowerPoint Presentation</vt:lpstr>
      <vt:lpstr>PowerPoint Presentation</vt:lpstr>
      <vt:lpstr>Limitations and possible improvements</vt:lpstr>
      <vt:lpstr>PowerPoint Presentation</vt:lpstr>
      <vt:lpstr>Question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ferences</dc:title>
  <dc:creator>martin gregory</dc:creator>
  <cp:lastModifiedBy>Dan Li</cp:lastModifiedBy>
  <cp:revision>209</cp:revision>
  <dcterms:modified xsi:type="dcterms:W3CDTF">2025-03-28T01:36: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220864199AD7242930A49104B0F71DC</vt:lpwstr>
  </property>
  <property fmtid="{D5CDD505-2E9C-101B-9397-08002B2CF9AE}" pid="3" name="_dlc_DocIdItemGuid">
    <vt:lpwstr>c1de2891-25fe-4a1c-ae5c-075154ec13e3</vt:lpwstr>
  </property>
</Properties>
</file>